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4448" r:id="rId2"/>
    <p:sldMasterId id="2147484524" r:id="rId3"/>
    <p:sldMasterId id="2147484548" r:id="rId4"/>
  </p:sldMasterIdLst>
  <p:notesMasterIdLst>
    <p:notesMasterId r:id="rId9"/>
  </p:notesMasterIdLst>
  <p:handoutMasterIdLst>
    <p:handoutMasterId r:id="rId10"/>
  </p:handoutMasterIdLst>
  <p:sldIdLst>
    <p:sldId id="1255" r:id="rId5"/>
    <p:sldId id="1219" r:id="rId6"/>
    <p:sldId id="1256" r:id="rId7"/>
    <p:sldId id="1258" r:id="rId8"/>
  </p:sldIdLst>
  <p:sldSz cx="9144000" cy="5143500" type="screen16x9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8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5D70"/>
    <a:srgbClr val="F56913"/>
    <a:srgbClr val="A50021"/>
    <a:srgbClr val="CC0000"/>
    <a:srgbClr val="FFFF99"/>
    <a:srgbClr val="EEB7B9"/>
    <a:srgbClr val="EFB3B9"/>
    <a:srgbClr val="E1B3B9"/>
    <a:srgbClr val="E6B3B9"/>
    <a:srgbClr val="E6B3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471" autoAdjust="0"/>
    <p:restoredTop sz="86437" autoAdjust="0"/>
  </p:normalViewPr>
  <p:slideViewPr>
    <p:cSldViewPr>
      <p:cViewPr>
        <p:scale>
          <a:sx n="153" d="100"/>
          <a:sy n="153" d="100"/>
        </p:scale>
        <p:origin x="-96" y="-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21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-3936" y="-84"/>
      </p:cViewPr>
      <p:guideLst>
        <p:guide orient="horz" pos="3128"/>
        <p:guide pos="2143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 b="0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ериод 2012 - 2023 гг.</a:t>
            </a:r>
          </a:p>
        </c:rich>
      </c:tx>
      <c:layout>
        <c:manualLayout>
          <c:xMode val="edge"/>
          <c:yMode val="edge"/>
          <c:x val="0.37366443328900728"/>
          <c:y val="4.6793294153757008E-4"/>
        </c:manualLayout>
      </c:layout>
      <c:overlay val="0"/>
      <c:spPr>
        <a:solidFill>
          <a:schemeClr val="tx2">
            <a:lumMod val="40000"/>
            <a:lumOff val="60000"/>
          </a:schemeClr>
        </a:solidFill>
      </c:sp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2592746059487467"/>
          <c:y val="6.2185602565898487E-2"/>
          <c:w val="0.27407253940512599"/>
          <c:h val="0.92143868072629542"/>
        </c:manualLayout>
      </c:layout>
      <c:overlay val="0"/>
      <c:txPr>
        <a:bodyPr/>
        <a:lstStyle/>
        <a:p>
          <a:pPr>
            <a:defRPr sz="900" b="1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.30714411361700567"/>
          <c:w val="0.88870160161716694"/>
          <c:h val="0.52421548068733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ТП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1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8A0-4553-A298-5DA7752213F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страдавшие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7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8A0-4553-A298-5DA7752213F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гибшие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194-4F24-ABFC-DF322EDD0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39"/>
        <c:axId val="132453888"/>
        <c:axId val="132455424"/>
      </c:barChart>
      <c:catAx>
        <c:axId val="13245388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132455424"/>
        <c:crosses val="autoZero"/>
        <c:auto val="1"/>
        <c:lblAlgn val="ctr"/>
        <c:lblOffset val="100"/>
        <c:noMultiLvlLbl val="0"/>
      </c:catAx>
      <c:valAx>
        <c:axId val="13245542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32453888"/>
        <c:crosses val="autoZero"/>
        <c:crossBetween val="between"/>
      </c:valAx>
    </c:plotArea>
    <c:legend>
      <c:legendPos val="t"/>
      <c:layout/>
      <c:overlay val="0"/>
      <c:txPr>
        <a:bodyPr/>
        <a:lstStyle/>
        <a:p>
          <a:pPr>
            <a:defRPr sz="1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.30714411361700567"/>
          <c:w val="0.88870160161716683"/>
          <c:h val="0.52421548068733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ТП</c:v>
                </c:pt>
              </c:strCache>
            </c:strRef>
          </c:tx>
          <c:spPr>
            <a:solidFill>
              <a:srgbClr val="1F497D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14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8A0-4553-A298-5DA7752213F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страдавшие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8A0-4553-A298-5DA7752213F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гибшие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194-4F24-ABFC-DF322EDD0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39"/>
        <c:axId val="132521344"/>
        <c:axId val="132527232"/>
      </c:barChart>
      <c:catAx>
        <c:axId val="132521344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132527232"/>
        <c:crosses val="autoZero"/>
        <c:auto val="1"/>
        <c:lblAlgn val="ctr"/>
        <c:lblOffset val="100"/>
        <c:noMultiLvlLbl val="0"/>
      </c:catAx>
      <c:valAx>
        <c:axId val="13252723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32521344"/>
        <c:crosses val="autoZero"/>
        <c:crossBetween val="between"/>
      </c:valAx>
    </c:plotArea>
    <c:legend>
      <c:legendPos val="t"/>
      <c:layout/>
      <c:overlay val="0"/>
      <c:txPr>
        <a:bodyPr/>
        <a:lstStyle/>
        <a:p>
          <a:pPr>
            <a:defRPr sz="1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6FFA2F06-8A75-4379-BB90-B49E9E5022E8}" type="datetimeFigureOut">
              <a:rPr lang="ru-RU"/>
              <a:pPr>
                <a:defRPr/>
              </a:pPr>
              <a:t>07.11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6C7FA827-B82E-4CCA-90BA-C1DC99E0D4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722691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9C3E808-1911-4954-B622-DA99DFD3192D}" type="datetimeFigureOut">
              <a:rPr lang="ru-RU"/>
              <a:pPr>
                <a:defRPr/>
              </a:pPr>
              <a:t>07.1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6" tIns="45718" rIns="91436" bIns="45718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9" y="4715909"/>
            <a:ext cx="5438140" cy="4467701"/>
          </a:xfrm>
          <a:prstGeom prst="rect">
            <a:avLst/>
          </a:prstGeom>
        </p:spPr>
        <p:txBody>
          <a:bodyPr vert="horz" lIns="91436" tIns="45718" rIns="91436" bIns="45718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DB8EF21-0B0C-4577-9ACD-4E38648DF0B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1653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1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2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3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4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890588" y="2517775"/>
            <a:ext cx="5513387" cy="565150"/>
          </a:xfrm>
          <a:prstGeom prst="rect">
            <a:avLst/>
          </a:prstGeom>
        </p:spPr>
        <p:txBody>
          <a:bodyPr anchor="ctr">
            <a:norm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2200" smtClean="0">
                <a:solidFill>
                  <a:srgbClr val="FFFFFF"/>
                </a:solidFill>
                <a:latin typeface="Verdana" charset="0"/>
              </a:rPr>
              <a:t>Образец заголовка</a:t>
            </a:r>
            <a:endParaRPr lang="en-US" sz="2200" smtClean="0">
              <a:solidFill>
                <a:srgbClr val="FFFFFF"/>
              </a:solidFill>
              <a:latin typeface="Verdana" charset="0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02401" y="4521200"/>
            <a:ext cx="4193157" cy="3813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buNone/>
              <a:defRPr sz="100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890030" y="2625757"/>
            <a:ext cx="5514509" cy="564404"/>
          </a:xfrm>
          <a:prstGeom prst="rect">
            <a:avLst/>
          </a:prstGeom>
        </p:spPr>
        <p:txBody>
          <a:bodyPr/>
          <a:lstStyle>
            <a:lvl1pPr marL="0" marR="0" indent="0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898321" y="3437382"/>
            <a:ext cx="5514509" cy="8487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968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6688"/>
            <a:ext cx="8229600" cy="82073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75406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1"/>
          <p:cNvSpPr/>
          <p:nvPr userDrawn="1"/>
        </p:nvSpPr>
        <p:spPr>
          <a:xfrm>
            <a:off x="0" y="0"/>
            <a:ext cx="9144000" cy="4865688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Rectangle 22"/>
          <p:cNvSpPr/>
          <p:nvPr userDrawn="1"/>
        </p:nvSpPr>
        <p:spPr>
          <a:xfrm>
            <a:off x="0" y="4875213"/>
            <a:ext cx="9144000" cy="2682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5" name="Группа 10"/>
          <p:cNvGrpSpPr>
            <a:grpSpLocks noChangeAspect="1"/>
          </p:cNvGrpSpPr>
          <p:nvPr userDrawn="1"/>
        </p:nvGrpSpPr>
        <p:grpSpPr bwMode="auto">
          <a:xfrm>
            <a:off x="8496300" y="4948238"/>
            <a:ext cx="306388" cy="136525"/>
            <a:chOff x="5385680" y="6487509"/>
            <a:chExt cx="1039813" cy="461962"/>
          </a:xfrm>
        </p:grpSpPr>
        <p:sp>
          <p:nvSpPr>
            <p:cNvPr id="6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7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</p:grp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219573" y="1809637"/>
            <a:ext cx="7772400" cy="11251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991652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200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200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760408" y="1025130"/>
            <a:ext cx="700088" cy="248245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70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93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92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34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58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74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91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43311" y="161119"/>
            <a:ext cx="8218873" cy="431736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>
              <a:defRPr sz="15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804681" y="510323"/>
            <a:ext cx="8273654" cy="114276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817609" y="135717"/>
            <a:ext cx="8273654" cy="114276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7508" y="4837419"/>
            <a:ext cx="6537228" cy="161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66196" y="4837419"/>
            <a:ext cx="1560185" cy="161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61225" y="4855377"/>
            <a:ext cx="579668" cy="114275"/>
          </a:xfrm>
          <a:prstGeom prst="rect">
            <a:avLst/>
          </a:prstGeom>
        </p:spPr>
        <p:txBody>
          <a:bodyPr anchor="ctr"/>
          <a:lstStyle>
            <a:lvl1pPr algn="ctr">
              <a:defRPr sz="11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3" name="Группа 20"/>
          <p:cNvGrpSpPr/>
          <p:nvPr userDrawn="1"/>
        </p:nvGrpSpPr>
        <p:grpSpPr>
          <a:xfrm>
            <a:off x="142931" y="207657"/>
            <a:ext cx="594227" cy="359802"/>
            <a:chOff x="8172400" y="171642"/>
            <a:chExt cx="792302" cy="479736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738"/>
              <a:endParaRPr lang="ru-RU" sz="1400" dirty="0">
                <a:solidFill>
                  <a:prstClr val="white"/>
                </a:solidFill>
              </a:endParaRPr>
            </a:p>
          </p:txBody>
        </p:sp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4074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8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4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6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7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-7938" y="2383"/>
            <a:ext cx="9151938" cy="507206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4" y="424776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32" y="294027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6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D1E19B-3296-4208-91A2-B9E4A5DD3B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| Координационный Совет начальников железных дорог | 05/10/15</a:t>
            </a:r>
            <a:endParaRPr lang="en-US"/>
          </a:p>
        </p:txBody>
      </p:sp>
      <p:sp>
        <p:nvSpPr>
          <p:cNvPr id="26" name="Rectangle 17"/>
          <p:cNvSpPr>
            <a:spLocks noChangeArrowheads="1"/>
          </p:cNvSpPr>
          <p:nvPr userDrawn="1"/>
        </p:nvSpPr>
        <p:spPr bwMode="auto">
          <a:xfrm>
            <a:off x="0" y="4945857"/>
            <a:ext cx="9144000" cy="19764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695531" y="4967978"/>
            <a:ext cx="406400" cy="134541"/>
            <a:chOff x="5385680" y="6487509"/>
            <a:chExt cx="1039813" cy="461962"/>
          </a:xfrm>
        </p:grpSpPr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1335919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557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22035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2513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БК 5 февра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ru-RU" sz="18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68863"/>
            <a:ext cx="2057400" cy="274637"/>
          </a:xfrm>
        </p:spPr>
        <p:txBody>
          <a:bodyPr anchor="b"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044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71674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| Координационный Совет начальников железных дорог | 05/10/15</a:t>
            </a: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9E1AED-F888-4CDA-B4A7-D8280D7C1BB3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21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5795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/>
            <a:endParaRPr lang="ru-RU" sz="1400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627536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3" name="Заголовок 2"/>
          <p:cNvSpPr txBox="1">
            <a:spLocks/>
          </p:cNvSpPr>
          <p:nvPr userDrawn="1"/>
        </p:nvSpPr>
        <p:spPr>
          <a:xfrm>
            <a:off x="251520" y="195488"/>
            <a:ext cx="7939794" cy="494343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/>
          <a:p>
            <a:pPr defTabSz="914355">
              <a:lnSpc>
                <a:spcPct val="90000"/>
              </a:lnSpc>
              <a:defRPr/>
            </a:pPr>
            <a:endParaRPr lang="ru-RU" sz="2400" b="1" dirty="0" smtClean="0">
              <a:solidFill>
                <a:srgbClr val="1F497D"/>
              </a:solidFill>
              <a:cs typeface="Arial" pitchFamily="34" charset="0"/>
            </a:endParaRPr>
          </a:p>
        </p:txBody>
      </p:sp>
      <p:sp>
        <p:nvSpPr>
          <p:cNvPr id="12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92280" y="-20538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5138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7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90947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51985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591550" y="4869657"/>
            <a:ext cx="552450" cy="273844"/>
          </a:xfrm>
          <a:prstGeom prst="rect">
            <a:avLst/>
          </a:prstGeom>
          <a:solidFill>
            <a:srgbClr val="E21A1A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806E5D-40B9-48AA-AED3-3EF30A97FA38}" type="slidenum">
              <a:rPr lang="ru-RU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ru-RU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1377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4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85B8F77E-9B37-46FD-A341-3799359928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ru-RU"/>
              <a:t>| Технический совет по безопасности движения поездов | Красноярская дирекция инфраструктур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912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4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85B8F77E-9B37-46FD-A341-3799359928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ru-RU"/>
              <a:t>| Технический совет по безопасности движения поездов | Красноярская дирекция инфраструктур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912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1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B24B1C-1B60-42BB-9B0C-06C26477C6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ЕКАСУИ Дистанции пути| декабрь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369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395537" y="1437625"/>
            <a:ext cx="8529889" cy="32956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23528" y="2494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1213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Докла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800" b="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34597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215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22035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2513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БК 5 февра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ru-RU" sz="18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68863"/>
            <a:ext cx="2057400" cy="274637"/>
          </a:xfrm>
        </p:spPr>
        <p:txBody>
          <a:bodyPr anchor="b"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044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71674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| Координационный Совет начальников железных дорог | 05/10/15</a:t>
            </a: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9E1AED-F888-4CDA-B4A7-D8280D7C1BB3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21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5795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/>
            <a:endParaRPr lang="ru-RU" sz="1400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627536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3" name="Заголовок 2"/>
          <p:cNvSpPr txBox="1">
            <a:spLocks/>
          </p:cNvSpPr>
          <p:nvPr userDrawn="1"/>
        </p:nvSpPr>
        <p:spPr>
          <a:xfrm>
            <a:off x="251520" y="195488"/>
            <a:ext cx="7939794" cy="494343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/>
          <a:p>
            <a:pPr defTabSz="914355">
              <a:lnSpc>
                <a:spcPct val="90000"/>
              </a:lnSpc>
              <a:defRPr/>
            </a:pPr>
            <a:endParaRPr lang="ru-RU" sz="2400" b="1" dirty="0" smtClean="0">
              <a:solidFill>
                <a:srgbClr val="1F497D"/>
              </a:solidFill>
              <a:cs typeface="Arial" pitchFamily="34" charset="0"/>
            </a:endParaRPr>
          </a:p>
        </p:txBody>
      </p:sp>
      <p:sp>
        <p:nvSpPr>
          <p:cNvPr id="12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92280" y="-20538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5138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6688"/>
            <a:ext cx="8229600" cy="82073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7094790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383619"/>
            <a:ext cx="1316459" cy="32668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454990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7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90947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51985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591550" y="4869657"/>
            <a:ext cx="552450" cy="273844"/>
          </a:xfrm>
          <a:prstGeom prst="rect">
            <a:avLst/>
          </a:prstGeom>
          <a:solidFill>
            <a:srgbClr val="E21A1A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806E5D-40B9-48AA-AED3-3EF30A97FA38}" type="slidenum">
              <a:rPr lang="ru-RU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ru-RU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1377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4767267"/>
            <a:ext cx="2057400" cy="274637"/>
          </a:xfrm>
          <a:prstGeom prst="rect">
            <a:avLst/>
          </a:prstGeom>
        </p:spPr>
        <p:txBody>
          <a:bodyPr lIns="91396" tIns="45697" rIns="91396" bIns="45697"/>
          <a:lstStyle>
            <a:lvl1pPr>
              <a:defRPr/>
            </a:lvl1pPr>
          </a:lstStyle>
          <a:p>
            <a:pPr defTabSz="914333"/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4767267"/>
            <a:ext cx="3086100" cy="274637"/>
          </a:xfrm>
          <a:prstGeom prst="rect">
            <a:avLst/>
          </a:prstGeom>
        </p:spPr>
        <p:txBody>
          <a:bodyPr lIns="91396" tIns="45697" rIns="91396" bIns="45697"/>
          <a:lstStyle>
            <a:lvl1pPr>
              <a:defRPr/>
            </a:lvl1pPr>
          </a:lstStyle>
          <a:p>
            <a:pPr defTabSz="914333"/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1</a:t>
            </a:r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04249" y="631900"/>
            <a:ext cx="20574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47BE04C-0A62-48EE-9C63-4203BB14929B}" type="slidenum">
              <a:rPr lang="ru-RU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081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95197B86-2299-49C5-943C-4D8011CE9A14}" type="datetimeFigureOut">
              <a:rPr lang="ru-RU" smtClean="0"/>
              <a:pPr/>
              <a:t>07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3B17F-9B26-46E7-9FD4-F5CB10F5D71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229600" cy="820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7094790" cy="32956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408859"/>
            <a:ext cx="1316459" cy="324161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527552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229600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4636600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0" y="4856163"/>
            <a:ext cx="9144000" cy="2873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Verdana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 flipV="1">
            <a:off x="0" y="0"/>
            <a:ext cx="9144000" cy="701675"/>
          </a:xfrm>
          <a:prstGeom prst="rect">
            <a:avLst/>
          </a:prstGeom>
          <a:solidFill>
            <a:srgbClr val="BFC5CE"/>
          </a:solidFill>
          <a:ln w="9525" cap="flat" cmpd="sng" algn="ctr">
            <a:noFill/>
            <a:prstDash val="solid"/>
          </a:ln>
          <a:effectLst/>
        </p:spPr>
        <p:txBody>
          <a:bodyPr lIns="68580" tIns="34290" rIns="68580" bIns="3429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13" name="Text Box 10"/>
          <p:cNvSpPr txBox="1">
            <a:spLocks noChangeArrowheads="1"/>
          </p:cNvSpPr>
          <p:nvPr userDrawn="1"/>
        </p:nvSpPr>
        <p:spPr bwMode="auto">
          <a:xfrm>
            <a:off x="225029" y="4946287"/>
            <a:ext cx="230187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fld id="{2374F2AF-8B51-41D9-B382-7B85B102C64D}" type="slidenum">
              <a:rPr lang="en-US" sz="800" smtClean="0">
                <a:solidFill>
                  <a:prstClr val="black"/>
                </a:solidFill>
                <a:latin typeface="Verdana" panose="020B0604030504040204" pitchFamily="34" charset="0"/>
                <a:ea typeface="MS PGothic" panose="020B0600070205080204" pitchFamily="34" charset="-128"/>
              </a:rPr>
              <a:pPr algn="ctr" eaLnBrk="1" hangingPunct="1">
                <a:spcBef>
                  <a:spcPct val="50000"/>
                </a:spcBef>
              </a:pPr>
              <a:t>‹#›</a:t>
            </a:fld>
            <a:endParaRPr lang="en-US" sz="800" dirty="0">
              <a:solidFill>
                <a:prstClr val="black"/>
              </a:solidFill>
              <a:latin typeface="Verdana" panose="020B0604030504040204" pitchFamily="34" charset="0"/>
              <a:ea typeface="MS PGothic" panose="020B0600070205080204" pitchFamily="34" charset="-128"/>
            </a:endParaRPr>
          </a:p>
        </p:txBody>
      </p:sp>
      <p:grpSp>
        <p:nvGrpSpPr>
          <p:cNvPr id="3" name="Группа 10"/>
          <p:cNvGrpSpPr>
            <a:grpSpLocks noChangeAspect="1"/>
          </p:cNvGrpSpPr>
          <p:nvPr userDrawn="1"/>
        </p:nvGrpSpPr>
        <p:grpSpPr bwMode="auto">
          <a:xfrm>
            <a:off x="8496300" y="4931569"/>
            <a:ext cx="306388" cy="136525"/>
            <a:chOff x="5385680" y="6487509"/>
            <a:chExt cx="1039813" cy="461962"/>
          </a:xfrm>
        </p:grpSpPr>
        <p:sp>
          <p:nvSpPr>
            <p:cNvPr id="15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16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17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028" y="-1"/>
            <a:ext cx="7886700" cy="70200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100" b="1"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0339446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0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14CCD9AB-F04C-4F12-AC26-257169738C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en-US">
              <a:latin typeface="Trebuchet MS"/>
            </a:endParaRP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4E727B0-8731-4CC3-8F32-8E639A5904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18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C7ED0B43-C998-4848-8DF9-30F71F51BB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FCCDCFD-1FC6-4243-B562-C098A8F085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4E727B0-8731-4CC3-8F32-8E639A5904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0309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7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90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7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39624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9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7"/>
            <a:ext cx="4140199" cy="2657477"/>
          </a:xfrm>
          <a:prstGeom prst="rect">
            <a:avLst/>
          </a:prstGeom>
        </p:spPr>
        <p:txBody>
          <a:bodyPr lIns="68576" tIns="34289" rIns="68576" bIns="34289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60"/>
            <a:ext cx="4140200" cy="365921"/>
          </a:xfrm>
          <a:prstGeom prst="rect">
            <a:avLst/>
          </a:prstGeom>
        </p:spPr>
        <p:txBody>
          <a:bodyPr lIns="68576" tIns="34289" rIns="68576" bIns="34289">
            <a:norm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32" y="294031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6"/>
            <a:ext cx="4140199" cy="2657477"/>
          </a:xfrm>
          <a:prstGeom prst="rect">
            <a:avLst/>
          </a:prstGeom>
        </p:spPr>
        <p:txBody>
          <a:bodyPr lIns="68576" tIns="34289" rIns="68576" bIns="34289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60"/>
            <a:ext cx="4140200" cy="365921"/>
          </a:xfrm>
          <a:prstGeom prst="rect">
            <a:avLst/>
          </a:prstGeom>
        </p:spPr>
        <p:txBody>
          <a:bodyPr lIns="68576" tIns="34289" rIns="68576" bIns="34289">
            <a:norm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5CD55C-2122-412E-9BAD-034CCEBDA41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68576" tIns="34289" rIns="68576" bIns="34289"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236700" y="1352278"/>
            <a:ext cx="4206713" cy="32792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577640" y="1352278"/>
            <a:ext cx="4196473" cy="32792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11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14CCD9AB-F04C-4F12-AC26-257169738C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en-US">
              <a:latin typeface="Trebuchet MS"/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028950" y="4767265"/>
            <a:ext cx="3086100" cy="274637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B1197B2B-B432-488B-BD5A-F299E1E0A2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890588" y="2517775"/>
            <a:ext cx="5513387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dirty="0">
                <a:solidFill>
                  <a:srgbClr val="FFFFFF"/>
                </a:solidFill>
                <a:latin typeface="Verdana" pitchFamily="34" charset="0"/>
                <a:cs typeface="+mn-cs"/>
              </a:rPr>
              <a:t>Образец заголовка</a:t>
            </a:r>
            <a:endParaRPr lang="en-US" sz="2200" dirty="0">
              <a:solidFill>
                <a:srgbClr val="FFFFFF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02401" y="4521200"/>
            <a:ext cx="4193157" cy="3813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buNone/>
              <a:defRPr sz="1000" baseline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890030" y="2625757"/>
            <a:ext cx="5514509" cy="564404"/>
          </a:xfrm>
        </p:spPr>
        <p:txBody>
          <a:bodyPr/>
          <a:lstStyle>
            <a:lvl1pPr marL="0" marR="0" indent="0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898321" y="3437382"/>
            <a:ext cx="5514509" cy="8487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1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48351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317500" y="4872038"/>
            <a:ext cx="34925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937680-937F-4636-8C4B-19DB3D188059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547688" y="4872038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7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B1197B2B-B432-488B-BD5A-F299E1E0A2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8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289F2DE-7CAF-417D-A405-0ED9EE9F766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0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73D6B73-ED62-4749-9E37-32B9753BE1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327026" y="1284685"/>
            <a:ext cx="7013575" cy="334803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289803"/>
            <a:ext cx="1316459" cy="33429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rgbClr val="0066A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003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EE9FDC0C-556C-49FC-9577-EFB382C45F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028950" y="4767265"/>
            <a:ext cx="3086100" cy="274637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3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4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 lIns="80465" tIns="40232" rIns="80465" bIns="40232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4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1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3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2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6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2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5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1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7" y="1447803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6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9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2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C421EF-058D-4DEE-BA0D-74337D6D35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1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3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4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 lIns="80465" tIns="40232" rIns="80465" bIns="40232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327026" y="1284685"/>
            <a:ext cx="4125913" cy="283368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0"/>
          </p:nvPr>
        </p:nvSpPr>
        <p:spPr>
          <a:xfrm>
            <a:off x="4667250" y="1285875"/>
            <a:ext cx="4125913" cy="283368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4576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slideLayout" Target="../slideLayouts/slideLayout90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41" Type="http://schemas.openxmlformats.org/officeDocument/2006/relationships/slideLayout" Target="../slideLayouts/slideLayout89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"/>
          <p:cNvSpPr/>
          <p:nvPr userDrawn="1"/>
        </p:nvSpPr>
        <p:spPr>
          <a:xfrm>
            <a:off x="-17463" y="-33338"/>
            <a:ext cx="9161463" cy="755651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4879975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3080" name="Группа 10"/>
          <p:cNvGrpSpPr>
            <a:grpSpLocks noChangeAspect="1"/>
          </p:cNvGrpSpPr>
          <p:nvPr userDrawn="1"/>
        </p:nvGrpSpPr>
        <p:grpSpPr bwMode="auto">
          <a:xfrm>
            <a:off x="8496300" y="4948238"/>
            <a:ext cx="306388" cy="136525"/>
            <a:chOff x="5385680" y="6487509"/>
            <a:chExt cx="1039813" cy="461962"/>
          </a:xfrm>
        </p:grpSpPr>
        <p:sp>
          <p:nvSpPr>
            <p:cNvPr id="1072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1073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1074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</p:grpSp>
      <p:sp>
        <p:nvSpPr>
          <p:cNvPr id="32" name="Rectangle 6"/>
          <p:cNvSpPr>
            <a:spLocks noChangeArrowheads="1"/>
          </p:cNvSpPr>
          <p:nvPr userDrawn="1"/>
        </p:nvSpPr>
        <p:spPr bwMode="auto">
          <a:xfrm>
            <a:off x="-374650" y="-17463"/>
            <a:ext cx="366712" cy="366713"/>
          </a:xfrm>
          <a:prstGeom prst="rect">
            <a:avLst/>
          </a:prstGeom>
          <a:solidFill>
            <a:srgbClr val="E21A1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33" name="Rectangle 7"/>
          <p:cNvSpPr>
            <a:spLocks noChangeArrowheads="1"/>
          </p:cNvSpPr>
          <p:nvPr userDrawn="1"/>
        </p:nvSpPr>
        <p:spPr bwMode="auto">
          <a:xfrm>
            <a:off x="-374650" y="349250"/>
            <a:ext cx="366712" cy="366713"/>
          </a:xfrm>
          <a:prstGeom prst="rect">
            <a:avLst/>
          </a:prstGeom>
          <a:solidFill>
            <a:srgbClr val="394A58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34" name="Rectangle 8"/>
          <p:cNvSpPr>
            <a:spLocks noChangeArrowheads="1"/>
          </p:cNvSpPr>
          <p:nvPr userDrawn="1"/>
        </p:nvSpPr>
        <p:spPr bwMode="auto">
          <a:xfrm>
            <a:off x="-374650" y="715963"/>
            <a:ext cx="366712" cy="366712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5" name="Rectangle 9"/>
          <p:cNvSpPr>
            <a:spLocks noChangeArrowheads="1"/>
          </p:cNvSpPr>
          <p:nvPr userDrawn="1"/>
        </p:nvSpPr>
        <p:spPr bwMode="auto">
          <a:xfrm>
            <a:off x="-374650" y="1081088"/>
            <a:ext cx="366712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6" name="Rectangle 13"/>
          <p:cNvSpPr>
            <a:spLocks noChangeArrowheads="1"/>
          </p:cNvSpPr>
          <p:nvPr userDrawn="1"/>
        </p:nvSpPr>
        <p:spPr bwMode="auto">
          <a:xfrm>
            <a:off x="-374650" y="1447800"/>
            <a:ext cx="366712" cy="366713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7" name="Rectangle 10"/>
          <p:cNvSpPr>
            <a:spLocks noChangeArrowheads="1"/>
          </p:cNvSpPr>
          <p:nvPr userDrawn="1"/>
        </p:nvSpPr>
        <p:spPr bwMode="auto">
          <a:xfrm>
            <a:off x="-774700" y="-22225"/>
            <a:ext cx="366712" cy="377825"/>
          </a:xfrm>
          <a:prstGeom prst="rect">
            <a:avLst/>
          </a:prstGeom>
          <a:solidFill>
            <a:srgbClr val="CECCA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8" name="Rectangle 12"/>
          <p:cNvSpPr>
            <a:spLocks noChangeArrowheads="1"/>
          </p:cNvSpPr>
          <p:nvPr userDrawn="1"/>
        </p:nvSpPr>
        <p:spPr bwMode="auto">
          <a:xfrm>
            <a:off x="-781050" y="3303588"/>
            <a:ext cx="366712" cy="366712"/>
          </a:xfrm>
          <a:prstGeom prst="rect">
            <a:avLst/>
          </a:prstGeom>
          <a:solidFill>
            <a:srgbClr val="78D64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39" name="Rectangle 12"/>
          <p:cNvSpPr>
            <a:spLocks noChangeArrowheads="1"/>
          </p:cNvSpPr>
          <p:nvPr userDrawn="1"/>
        </p:nvSpPr>
        <p:spPr bwMode="auto">
          <a:xfrm>
            <a:off x="-1601788" y="-22225"/>
            <a:ext cx="366713" cy="366713"/>
          </a:xfrm>
          <a:prstGeom prst="rect">
            <a:avLst/>
          </a:prstGeom>
          <a:solidFill>
            <a:srgbClr val="FF690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40" name="Rectangle 13"/>
          <p:cNvSpPr>
            <a:spLocks noChangeArrowheads="1"/>
          </p:cNvSpPr>
          <p:nvPr userDrawn="1"/>
        </p:nvSpPr>
        <p:spPr bwMode="auto">
          <a:xfrm>
            <a:off x="-374650" y="1828800"/>
            <a:ext cx="366712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1" name="Rectangle 7"/>
          <p:cNvSpPr>
            <a:spLocks noChangeArrowheads="1"/>
          </p:cNvSpPr>
          <p:nvPr userDrawn="1"/>
        </p:nvSpPr>
        <p:spPr bwMode="auto">
          <a:xfrm>
            <a:off x="-374650" y="2211388"/>
            <a:ext cx="366712" cy="366712"/>
          </a:xfrm>
          <a:prstGeom prst="rect">
            <a:avLst/>
          </a:prstGeom>
          <a:solidFill>
            <a:srgbClr val="60606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auto">
          <a:xfrm>
            <a:off x="-374650" y="2571750"/>
            <a:ext cx="366712" cy="366713"/>
          </a:xfrm>
          <a:prstGeom prst="rect">
            <a:avLst/>
          </a:prstGeom>
          <a:solidFill>
            <a:srgbClr val="828282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3" name="Rectangle 7"/>
          <p:cNvSpPr>
            <a:spLocks noChangeArrowheads="1"/>
          </p:cNvSpPr>
          <p:nvPr userDrawn="1"/>
        </p:nvSpPr>
        <p:spPr bwMode="auto">
          <a:xfrm>
            <a:off x="-374650" y="2943225"/>
            <a:ext cx="366712" cy="366713"/>
          </a:xfrm>
          <a:prstGeom prst="rect">
            <a:avLst/>
          </a:prstGeom>
          <a:solidFill>
            <a:srgbClr val="A9A9A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4" name="Rectangle 7"/>
          <p:cNvSpPr>
            <a:spLocks noChangeArrowheads="1"/>
          </p:cNvSpPr>
          <p:nvPr userDrawn="1"/>
        </p:nvSpPr>
        <p:spPr bwMode="auto">
          <a:xfrm>
            <a:off x="-374650" y="3314700"/>
            <a:ext cx="366712" cy="366713"/>
          </a:xfrm>
          <a:prstGeom prst="rect">
            <a:avLst/>
          </a:prstGeom>
          <a:solidFill>
            <a:srgbClr val="D3D3D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5" name="Rectangle 10"/>
          <p:cNvSpPr>
            <a:spLocks noChangeArrowheads="1"/>
          </p:cNvSpPr>
          <p:nvPr userDrawn="1"/>
        </p:nvSpPr>
        <p:spPr bwMode="auto">
          <a:xfrm>
            <a:off x="-774700" y="355600"/>
            <a:ext cx="366712" cy="366713"/>
          </a:xfrm>
          <a:prstGeom prst="rect">
            <a:avLst/>
          </a:prstGeom>
          <a:solidFill>
            <a:srgbClr val="85865F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6" name="Rectangle 10"/>
          <p:cNvSpPr>
            <a:spLocks noChangeArrowheads="1"/>
          </p:cNvSpPr>
          <p:nvPr userDrawn="1"/>
        </p:nvSpPr>
        <p:spPr bwMode="auto">
          <a:xfrm>
            <a:off x="-774700" y="715963"/>
            <a:ext cx="366712" cy="366712"/>
          </a:xfrm>
          <a:prstGeom prst="rect">
            <a:avLst/>
          </a:prstGeom>
          <a:solidFill>
            <a:srgbClr val="DDDCB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7" name="Rectangle 10"/>
          <p:cNvSpPr>
            <a:spLocks noChangeArrowheads="1"/>
          </p:cNvSpPr>
          <p:nvPr userDrawn="1"/>
        </p:nvSpPr>
        <p:spPr bwMode="auto">
          <a:xfrm>
            <a:off x="-774700" y="1082675"/>
            <a:ext cx="366712" cy="366713"/>
          </a:xfrm>
          <a:prstGeom prst="rect">
            <a:avLst/>
          </a:prstGeom>
          <a:solidFill>
            <a:srgbClr val="EBEAD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8" name="Rectangle 10"/>
          <p:cNvSpPr>
            <a:spLocks noChangeArrowheads="1"/>
          </p:cNvSpPr>
          <p:nvPr userDrawn="1"/>
        </p:nvSpPr>
        <p:spPr bwMode="auto">
          <a:xfrm>
            <a:off x="-774700" y="1447800"/>
            <a:ext cx="366712" cy="388938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9" name="Rectangle 10"/>
          <p:cNvSpPr>
            <a:spLocks noChangeArrowheads="1"/>
          </p:cNvSpPr>
          <p:nvPr userDrawn="1"/>
        </p:nvSpPr>
        <p:spPr bwMode="auto">
          <a:xfrm>
            <a:off x="-774700" y="1836738"/>
            <a:ext cx="366712" cy="366712"/>
          </a:xfrm>
          <a:prstGeom prst="rect">
            <a:avLst/>
          </a:prstGeom>
          <a:solidFill>
            <a:srgbClr val="626B45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0" name="Rectangle 10"/>
          <p:cNvSpPr>
            <a:spLocks noChangeArrowheads="1"/>
          </p:cNvSpPr>
          <p:nvPr userDrawn="1"/>
        </p:nvSpPr>
        <p:spPr bwMode="auto">
          <a:xfrm>
            <a:off x="-774700" y="2203450"/>
            <a:ext cx="366712" cy="366713"/>
          </a:xfrm>
          <a:prstGeom prst="rect">
            <a:avLst/>
          </a:prstGeom>
          <a:solidFill>
            <a:srgbClr val="828B5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1" name="Rectangle 10"/>
          <p:cNvSpPr>
            <a:spLocks noChangeArrowheads="1"/>
          </p:cNvSpPr>
          <p:nvPr userDrawn="1"/>
        </p:nvSpPr>
        <p:spPr bwMode="auto">
          <a:xfrm>
            <a:off x="-774700" y="2570163"/>
            <a:ext cx="366712" cy="366712"/>
          </a:xfrm>
          <a:prstGeom prst="rect">
            <a:avLst/>
          </a:prstGeom>
          <a:solidFill>
            <a:srgbClr val="B2B98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2" name="Rectangle 10"/>
          <p:cNvSpPr>
            <a:spLocks noChangeArrowheads="1"/>
          </p:cNvSpPr>
          <p:nvPr userDrawn="1"/>
        </p:nvSpPr>
        <p:spPr bwMode="auto">
          <a:xfrm>
            <a:off x="-774700" y="2936875"/>
            <a:ext cx="366712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3" name="Rectangle 10"/>
          <p:cNvSpPr>
            <a:spLocks noChangeArrowheads="1"/>
          </p:cNvSpPr>
          <p:nvPr userDrawn="1"/>
        </p:nvSpPr>
        <p:spPr bwMode="auto">
          <a:xfrm>
            <a:off x="-1189038" y="-22225"/>
            <a:ext cx="366713" cy="37782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4" name="Rectangle 10"/>
          <p:cNvSpPr>
            <a:spLocks noChangeArrowheads="1"/>
          </p:cNvSpPr>
          <p:nvPr userDrawn="1"/>
        </p:nvSpPr>
        <p:spPr bwMode="auto">
          <a:xfrm>
            <a:off x="-1189038" y="355600"/>
            <a:ext cx="366713" cy="366713"/>
          </a:xfrm>
          <a:prstGeom prst="rect">
            <a:avLst/>
          </a:prstGeom>
          <a:solidFill>
            <a:srgbClr val="00335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5" name="Rectangle 10"/>
          <p:cNvSpPr>
            <a:spLocks noChangeArrowheads="1"/>
          </p:cNvSpPr>
          <p:nvPr userDrawn="1"/>
        </p:nvSpPr>
        <p:spPr bwMode="auto">
          <a:xfrm>
            <a:off x="-1189038" y="715963"/>
            <a:ext cx="366713" cy="366712"/>
          </a:xfrm>
          <a:prstGeom prst="rect">
            <a:avLst/>
          </a:prstGeom>
          <a:solidFill>
            <a:srgbClr val="00507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6" name="Rectangle 10"/>
          <p:cNvSpPr>
            <a:spLocks noChangeArrowheads="1"/>
          </p:cNvSpPr>
          <p:nvPr userDrawn="1"/>
        </p:nvSpPr>
        <p:spPr bwMode="auto">
          <a:xfrm>
            <a:off x="-1189038" y="1082675"/>
            <a:ext cx="366713" cy="366713"/>
          </a:xfrm>
          <a:prstGeom prst="rect">
            <a:avLst/>
          </a:prstGeom>
          <a:solidFill>
            <a:srgbClr val="007FB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7" name="Rectangle 10"/>
          <p:cNvSpPr>
            <a:spLocks noChangeArrowheads="1"/>
          </p:cNvSpPr>
          <p:nvPr userDrawn="1"/>
        </p:nvSpPr>
        <p:spPr bwMode="auto">
          <a:xfrm>
            <a:off x="-1189038" y="1447800"/>
            <a:ext cx="366713" cy="388938"/>
          </a:xfrm>
          <a:prstGeom prst="rect">
            <a:avLst/>
          </a:prstGeom>
          <a:solidFill>
            <a:srgbClr val="8AB0D2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8" name="Rectangle 10"/>
          <p:cNvSpPr>
            <a:spLocks noChangeArrowheads="1"/>
          </p:cNvSpPr>
          <p:nvPr userDrawn="1"/>
        </p:nvSpPr>
        <p:spPr bwMode="auto">
          <a:xfrm>
            <a:off x="-1189038" y="1825625"/>
            <a:ext cx="366713" cy="373063"/>
          </a:xfrm>
          <a:prstGeom prst="rect">
            <a:avLst/>
          </a:prstGeom>
          <a:solidFill>
            <a:srgbClr val="00A3E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9" name="Rectangle 10"/>
          <p:cNvSpPr>
            <a:spLocks noChangeArrowheads="1"/>
          </p:cNvSpPr>
          <p:nvPr userDrawn="1"/>
        </p:nvSpPr>
        <p:spPr bwMode="auto">
          <a:xfrm>
            <a:off x="-1189038" y="2198688"/>
            <a:ext cx="366713" cy="373062"/>
          </a:xfrm>
          <a:prstGeom prst="rect">
            <a:avLst/>
          </a:prstGeom>
          <a:solidFill>
            <a:srgbClr val="20668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0" name="Rectangle 10"/>
          <p:cNvSpPr>
            <a:spLocks noChangeArrowheads="1"/>
          </p:cNvSpPr>
          <p:nvPr userDrawn="1"/>
        </p:nvSpPr>
        <p:spPr bwMode="auto">
          <a:xfrm>
            <a:off x="-1189038" y="2570163"/>
            <a:ext cx="366713" cy="373062"/>
          </a:xfrm>
          <a:prstGeom prst="rect">
            <a:avLst/>
          </a:prstGeom>
          <a:solidFill>
            <a:srgbClr val="2F87B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1" name="Rectangle 10"/>
          <p:cNvSpPr>
            <a:spLocks noChangeArrowheads="1"/>
          </p:cNvSpPr>
          <p:nvPr userDrawn="1"/>
        </p:nvSpPr>
        <p:spPr bwMode="auto">
          <a:xfrm>
            <a:off x="-1189038" y="2941638"/>
            <a:ext cx="366713" cy="373062"/>
          </a:xfrm>
          <a:prstGeom prst="rect">
            <a:avLst/>
          </a:prstGeom>
          <a:solidFill>
            <a:srgbClr val="61B9E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2" name="Rectangle 10"/>
          <p:cNvSpPr>
            <a:spLocks noChangeArrowheads="1"/>
          </p:cNvSpPr>
          <p:nvPr userDrawn="1"/>
        </p:nvSpPr>
        <p:spPr bwMode="auto">
          <a:xfrm>
            <a:off x="-1189038" y="3303588"/>
            <a:ext cx="366713" cy="373062"/>
          </a:xfrm>
          <a:prstGeom prst="rect">
            <a:avLst/>
          </a:prstGeom>
          <a:solidFill>
            <a:srgbClr val="B0DCF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3" name="Rectangle 12"/>
          <p:cNvSpPr>
            <a:spLocks noChangeArrowheads="1"/>
          </p:cNvSpPr>
          <p:nvPr userDrawn="1"/>
        </p:nvSpPr>
        <p:spPr bwMode="auto">
          <a:xfrm>
            <a:off x="-781050" y="3676650"/>
            <a:ext cx="366712" cy="366713"/>
          </a:xfrm>
          <a:prstGeom prst="rect">
            <a:avLst/>
          </a:prstGeom>
          <a:solidFill>
            <a:srgbClr val="65844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4" name="Rectangle 12"/>
          <p:cNvSpPr>
            <a:spLocks noChangeArrowheads="1"/>
          </p:cNvSpPr>
          <p:nvPr userDrawn="1"/>
        </p:nvSpPr>
        <p:spPr bwMode="auto">
          <a:xfrm>
            <a:off x="-781050" y="4043363"/>
            <a:ext cx="366712" cy="366712"/>
          </a:xfrm>
          <a:prstGeom prst="rect">
            <a:avLst/>
          </a:prstGeom>
          <a:solidFill>
            <a:srgbClr val="7FA357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5" name="Rectangle 12"/>
          <p:cNvSpPr>
            <a:spLocks noChangeArrowheads="1"/>
          </p:cNvSpPr>
          <p:nvPr userDrawn="1"/>
        </p:nvSpPr>
        <p:spPr bwMode="auto">
          <a:xfrm>
            <a:off x="-781050" y="4410075"/>
            <a:ext cx="366712" cy="366713"/>
          </a:xfrm>
          <a:prstGeom prst="rect">
            <a:avLst/>
          </a:prstGeom>
          <a:solidFill>
            <a:srgbClr val="AED08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6" name="Rectangle 12"/>
          <p:cNvSpPr>
            <a:spLocks noChangeArrowheads="1"/>
          </p:cNvSpPr>
          <p:nvPr userDrawn="1"/>
        </p:nvSpPr>
        <p:spPr bwMode="auto">
          <a:xfrm>
            <a:off x="-781050" y="4781550"/>
            <a:ext cx="366712" cy="366713"/>
          </a:xfrm>
          <a:prstGeom prst="rect">
            <a:avLst/>
          </a:prstGeom>
          <a:solidFill>
            <a:srgbClr val="D6E8C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7" name="Rectangle 12"/>
          <p:cNvSpPr>
            <a:spLocks noChangeArrowheads="1"/>
          </p:cNvSpPr>
          <p:nvPr userDrawn="1"/>
        </p:nvSpPr>
        <p:spPr bwMode="auto">
          <a:xfrm>
            <a:off x="-1601788" y="334963"/>
            <a:ext cx="366713" cy="366712"/>
          </a:xfrm>
          <a:prstGeom prst="rect">
            <a:avLst/>
          </a:prstGeom>
          <a:solidFill>
            <a:srgbClr val="80503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8" name="Rectangle 12"/>
          <p:cNvSpPr>
            <a:spLocks noChangeArrowheads="1"/>
          </p:cNvSpPr>
          <p:nvPr userDrawn="1"/>
        </p:nvSpPr>
        <p:spPr bwMode="auto">
          <a:xfrm>
            <a:off x="-1601788" y="701675"/>
            <a:ext cx="366713" cy="366713"/>
          </a:xfrm>
          <a:prstGeom prst="rect">
            <a:avLst/>
          </a:prstGeom>
          <a:solidFill>
            <a:srgbClr val="AC6B2F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9" name="Rectangle 12"/>
          <p:cNvSpPr>
            <a:spLocks noChangeArrowheads="1"/>
          </p:cNvSpPr>
          <p:nvPr userDrawn="1"/>
        </p:nvSpPr>
        <p:spPr bwMode="auto">
          <a:xfrm>
            <a:off x="-1601788" y="1068388"/>
            <a:ext cx="366713" cy="366712"/>
          </a:xfrm>
          <a:prstGeom prst="rect">
            <a:avLst/>
          </a:prstGeom>
          <a:solidFill>
            <a:srgbClr val="E4A06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70" name="Rectangle 12"/>
          <p:cNvSpPr>
            <a:spLocks noChangeArrowheads="1"/>
          </p:cNvSpPr>
          <p:nvPr userDrawn="1"/>
        </p:nvSpPr>
        <p:spPr bwMode="auto">
          <a:xfrm>
            <a:off x="-1601788" y="1435100"/>
            <a:ext cx="366713" cy="366713"/>
          </a:xfrm>
          <a:prstGeom prst="rect">
            <a:avLst/>
          </a:prstGeom>
          <a:solidFill>
            <a:srgbClr val="F1D0B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71" name="TextBox 70"/>
          <p:cNvSpPr txBox="1"/>
          <p:nvPr userDrawn="1"/>
        </p:nvSpPr>
        <p:spPr>
          <a:xfrm>
            <a:off x="-393018" y="331101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1-211-211</a:t>
            </a:r>
            <a:endParaRPr lang="ru-RU" sz="600" dirty="0">
              <a:latin typeface="+mn-lt"/>
            </a:endParaRPr>
          </a:p>
        </p:txBody>
      </p:sp>
      <p:sp>
        <p:nvSpPr>
          <p:cNvPr id="72" name="TextBox 71"/>
          <p:cNvSpPr txBox="1"/>
          <p:nvPr userDrawn="1"/>
        </p:nvSpPr>
        <p:spPr>
          <a:xfrm>
            <a:off x="-393018" y="294099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69-169-169</a:t>
            </a:r>
            <a:endParaRPr lang="ru-RU" sz="600" dirty="0">
              <a:latin typeface="+mn-lt"/>
            </a:endParaRPr>
          </a:p>
        </p:txBody>
      </p:sp>
      <p:sp>
        <p:nvSpPr>
          <p:cNvPr id="73" name="TextBox 72"/>
          <p:cNvSpPr txBox="1"/>
          <p:nvPr userDrawn="1"/>
        </p:nvSpPr>
        <p:spPr>
          <a:xfrm>
            <a:off x="-1620688" y="-28575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55-105-</a:t>
            </a:r>
          </a:p>
          <a:p>
            <a:pPr algn="l"/>
            <a:r>
              <a:rPr lang="ru-RU" sz="600" dirty="0" smtClean="0">
                <a:latin typeface="+mn-lt"/>
              </a:rPr>
              <a:t>0</a:t>
            </a:r>
            <a:endParaRPr lang="ru-RU" sz="600" dirty="0">
              <a:latin typeface="+mn-lt"/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-1193360" y="-2221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102-161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5" name="TextBox 74"/>
          <p:cNvSpPr txBox="1"/>
          <p:nvPr userDrawn="1"/>
        </p:nvSpPr>
        <p:spPr>
          <a:xfrm>
            <a:off x="-393018" y="-19182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226-26-</a:t>
            </a:r>
          </a:p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26</a:t>
            </a:r>
          </a:p>
        </p:txBody>
      </p:sp>
      <p:sp>
        <p:nvSpPr>
          <p:cNvPr id="76" name="TextBox 75"/>
          <p:cNvSpPr txBox="1"/>
          <p:nvPr userDrawn="1"/>
        </p:nvSpPr>
        <p:spPr>
          <a:xfrm>
            <a:off x="-1620688" y="343663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28-80-</a:t>
            </a:r>
          </a:p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48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7" name="TextBox 76"/>
          <p:cNvSpPr txBox="1"/>
          <p:nvPr userDrawn="1"/>
        </p:nvSpPr>
        <p:spPr>
          <a:xfrm>
            <a:off x="-791292" y="34870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33-134-95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8" name="TextBox 77"/>
          <p:cNvSpPr txBox="1"/>
          <p:nvPr userDrawn="1"/>
        </p:nvSpPr>
        <p:spPr>
          <a:xfrm>
            <a:off x="-791292" y="-1918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06-204-160</a:t>
            </a:r>
            <a:endParaRPr lang="ru-RU" sz="600" dirty="0">
              <a:latin typeface="+mn-lt"/>
            </a:endParaRPr>
          </a:p>
        </p:txBody>
      </p:sp>
      <p:sp>
        <p:nvSpPr>
          <p:cNvPr id="79" name="TextBox 78"/>
          <p:cNvSpPr txBox="1"/>
          <p:nvPr userDrawn="1"/>
        </p:nvSpPr>
        <p:spPr>
          <a:xfrm>
            <a:off x="-1620688" y="715901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72-107-47</a:t>
            </a:r>
          </a:p>
        </p:txBody>
      </p:sp>
      <p:sp>
        <p:nvSpPr>
          <p:cNvPr id="80" name="TextBox 79"/>
          <p:cNvSpPr txBox="1"/>
          <p:nvPr userDrawn="1"/>
        </p:nvSpPr>
        <p:spPr>
          <a:xfrm>
            <a:off x="-791292" y="108448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35-234-212</a:t>
            </a:r>
            <a:endParaRPr lang="ru-RU" sz="600" dirty="0">
              <a:latin typeface="+mn-lt"/>
            </a:endParaRPr>
          </a:p>
        </p:txBody>
      </p:sp>
      <p:sp>
        <p:nvSpPr>
          <p:cNvPr id="81" name="TextBox 80"/>
          <p:cNvSpPr txBox="1"/>
          <p:nvPr userDrawn="1"/>
        </p:nvSpPr>
        <p:spPr>
          <a:xfrm>
            <a:off x="-1620688" y="1088139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28-160-99</a:t>
            </a:r>
            <a:endParaRPr lang="ru-RU" sz="600" dirty="0">
              <a:latin typeface="+mn-lt"/>
            </a:endParaRPr>
          </a:p>
        </p:txBody>
      </p:sp>
      <p:sp>
        <p:nvSpPr>
          <p:cNvPr id="82" name="TextBox 81"/>
          <p:cNvSpPr txBox="1"/>
          <p:nvPr userDrawn="1"/>
        </p:nvSpPr>
        <p:spPr>
          <a:xfrm>
            <a:off x="-791292" y="71659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21-220-180</a:t>
            </a:r>
            <a:endParaRPr lang="ru-RU" sz="600" dirty="0">
              <a:latin typeface="+mn-lt"/>
            </a:endParaRPr>
          </a:p>
        </p:txBody>
      </p:sp>
      <p:sp>
        <p:nvSpPr>
          <p:cNvPr id="83" name="TextBox 82"/>
          <p:cNvSpPr txBox="1"/>
          <p:nvPr userDrawn="1"/>
        </p:nvSpPr>
        <p:spPr>
          <a:xfrm>
            <a:off x="-791292" y="145237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63-168-107</a:t>
            </a:r>
            <a:endParaRPr lang="ru-RU" sz="600" dirty="0">
              <a:latin typeface="+mn-lt"/>
            </a:endParaRPr>
          </a:p>
        </p:txBody>
      </p:sp>
      <p:sp>
        <p:nvSpPr>
          <p:cNvPr id="84" name="TextBox 83"/>
          <p:cNvSpPr txBox="1"/>
          <p:nvPr userDrawn="1"/>
        </p:nvSpPr>
        <p:spPr>
          <a:xfrm>
            <a:off x="-1620688" y="1460376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41-208-177</a:t>
            </a:r>
            <a:endParaRPr lang="ru-RU" sz="600" dirty="0">
              <a:latin typeface="+mn-lt"/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-393018" y="1460906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44-156-170</a:t>
            </a:r>
            <a:endParaRPr lang="ru-RU" sz="600" dirty="0">
              <a:latin typeface="+mn-lt"/>
            </a:endParaRPr>
          </a:p>
        </p:txBody>
      </p:sp>
      <p:sp>
        <p:nvSpPr>
          <p:cNvPr id="86" name="TextBox 85"/>
          <p:cNvSpPr txBox="1"/>
          <p:nvPr userDrawn="1"/>
        </p:nvSpPr>
        <p:spPr>
          <a:xfrm>
            <a:off x="-392010" y="339502"/>
            <a:ext cx="360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57-74-88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7" name="TextBox 86"/>
          <p:cNvSpPr txBox="1"/>
          <p:nvPr userDrawn="1"/>
        </p:nvSpPr>
        <p:spPr>
          <a:xfrm>
            <a:off x="-393018" y="72086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69-93-112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8" name="TextBox 87"/>
          <p:cNvSpPr txBox="1"/>
          <p:nvPr userDrawn="1"/>
        </p:nvSpPr>
        <p:spPr>
          <a:xfrm>
            <a:off x="-393018" y="109088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04-121-139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9" name="TextBox 88"/>
          <p:cNvSpPr txBox="1"/>
          <p:nvPr userDrawn="1"/>
        </p:nvSpPr>
        <p:spPr>
          <a:xfrm>
            <a:off x="-393018" y="183092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91-197-206</a:t>
            </a:r>
            <a:endParaRPr lang="ru-RU" sz="600" dirty="0">
              <a:latin typeface="+mn-lt"/>
            </a:endParaRPr>
          </a:p>
        </p:txBody>
      </p:sp>
      <p:sp>
        <p:nvSpPr>
          <p:cNvPr id="90" name="TextBox 89"/>
          <p:cNvSpPr txBox="1"/>
          <p:nvPr userDrawn="1"/>
        </p:nvSpPr>
        <p:spPr>
          <a:xfrm>
            <a:off x="-393018" y="220095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96-96-96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1" name="TextBox 90"/>
          <p:cNvSpPr txBox="1"/>
          <p:nvPr userDrawn="1"/>
        </p:nvSpPr>
        <p:spPr>
          <a:xfrm>
            <a:off x="-393018" y="257097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30-130-130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2" name="TextBox 91"/>
          <p:cNvSpPr txBox="1"/>
          <p:nvPr userDrawn="1"/>
        </p:nvSpPr>
        <p:spPr>
          <a:xfrm>
            <a:off x="-791292" y="218815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30-139-92</a:t>
            </a:r>
            <a:endParaRPr lang="ru-RU" sz="600" dirty="0">
              <a:latin typeface="+mn-lt"/>
            </a:endParaRPr>
          </a:p>
        </p:txBody>
      </p:sp>
      <p:sp>
        <p:nvSpPr>
          <p:cNvPr id="93" name="TextBox 92"/>
          <p:cNvSpPr txBox="1"/>
          <p:nvPr userDrawn="1"/>
        </p:nvSpPr>
        <p:spPr>
          <a:xfrm>
            <a:off x="-791292" y="182026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98-107-69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4" name="TextBox 93"/>
          <p:cNvSpPr txBox="1"/>
          <p:nvPr userDrawn="1"/>
        </p:nvSpPr>
        <p:spPr>
          <a:xfrm>
            <a:off x="-791292" y="292393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1-215-189</a:t>
            </a:r>
            <a:endParaRPr lang="ru-RU" sz="600" dirty="0">
              <a:latin typeface="+mn-lt"/>
            </a:endParaRPr>
          </a:p>
        </p:txBody>
      </p:sp>
      <p:sp>
        <p:nvSpPr>
          <p:cNvPr id="95" name="TextBox 94"/>
          <p:cNvSpPr txBox="1"/>
          <p:nvPr userDrawn="1"/>
        </p:nvSpPr>
        <p:spPr>
          <a:xfrm>
            <a:off x="-791292" y="255604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8-185-137</a:t>
            </a:r>
            <a:endParaRPr lang="ru-RU" sz="600" dirty="0">
              <a:latin typeface="+mn-lt"/>
            </a:endParaRPr>
          </a:p>
        </p:txBody>
      </p:sp>
      <p:sp>
        <p:nvSpPr>
          <p:cNvPr id="96" name="TextBox 95"/>
          <p:cNvSpPr txBox="1"/>
          <p:nvPr userDrawn="1"/>
        </p:nvSpPr>
        <p:spPr>
          <a:xfrm>
            <a:off x="-791292" y="329183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20-214-75</a:t>
            </a:r>
            <a:endParaRPr lang="ru-RU" sz="600" dirty="0">
              <a:latin typeface="+mn-lt"/>
            </a:endParaRPr>
          </a:p>
        </p:txBody>
      </p:sp>
      <p:sp>
        <p:nvSpPr>
          <p:cNvPr id="97" name="TextBox 96"/>
          <p:cNvSpPr txBox="1"/>
          <p:nvPr userDrawn="1"/>
        </p:nvSpPr>
        <p:spPr>
          <a:xfrm>
            <a:off x="-1188640" y="69954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80-124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8" name="TextBox 97"/>
          <p:cNvSpPr txBox="1"/>
          <p:nvPr userDrawn="1"/>
        </p:nvSpPr>
        <p:spPr>
          <a:xfrm>
            <a:off x="-1188640" y="33950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51-86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TextBox 98"/>
          <p:cNvSpPr txBox="1"/>
          <p:nvPr userDrawn="1"/>
        </p:nvSpPr>
        <p:spPr>
          <a:xfrm>
            <a:off x="-1195034" y="144006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38-176-210</a:t>
            </a:r>
            <a:endParaRPr lang="ru-RU" sz="600" dirty="0">
              <a:latin typeface="+mn-lt"/>
            </a:endParaRPr>
          </a:p>
        </p:txBody>
      </p:sp>
      <p:sp>
        <p:nvSpPr>
          <p:cNvPr id="100" name="TextBox 99"/>
          <p:cNvSpPr txBox="1"/>
          <p:nvPr userDrawn="1"/>
        </p:nvSpPr>
        <p:spPr>
          <a:xfrm>
            <a:off x="-1178168" y="105958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127-177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1" name="TextBox 100"/>
          <p:cNvSpPr txBox="1"/>
          <p:nvPr userDrawn="1"/>
        </p:nvSpPr>
        <p:spPr>
          <a:xfrm>
            <a:off x="-1201428" y="182693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0-163-224</a:t>
            </a:r>
            <a:endParaRPr lang="ru-RU" sz="600" dirty="0">
              <a:latin typeface="+mn-lt"/>
            </a:endParaRPr>
          </a:p>
        </p:txBody>
      </p:sp>
      <p:sp>
        <p:nvSpPr>
          <p:cNvPr id="102" name="TextBox 101"/>
          <p:cNvSpPr txBox="1"/>
          <p:nvPr userDrawn="1"/>
        </p:nvSpPr>
        <p:spPr>
          <a:xfrm>
            <a:off x="-788562" y="365739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01-132-70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3" name="TextBox 102"/>
          <p:cNvSpPr txBox="1"/>
          <p:nvPr userDrawn="1"/>
        </p:nvSpPr>
        <p:spPr>
          <a:xfrm>
            <a:off x="-788562" y="439317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4-208-134</a:t>
            </a:r>
            <a:endParaRPr lang="ru-RU" sz="600" dirty="0">
              <a:latin typeface="+mn-lt"/>
            </a:endParaRPr>
          </a:p>
        </p:txBody>
      </p:sp>
      <p:sp>
        <p:nvSpPr>
          <p:cNvPr id="104" name="TextBox 103"/>
          <p:cNvSpPr txBox="1"/>
          <p:nvPr userDrawn="1"/>
        </p:nvSpPr>
        <p:spPr>
          <a:xfrm>
            <a:off x="-788562" y="402528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27-163-87</a:t>
            </a:r>
            <a:endParaRPr lang="ru-RU" sz="600" dirty="0">
              <a:latin typeface="+mn-lt"/>
            </a:endParaRPr>
          </a:p>
        </p:txBody>
      </p:sp>
      <p:sp>
        <p:nvSpPr>
          <p:cNvPr id="105" name="TextBox 104"/>
          <p:cNvSpPr txBox="1"/>
          <p:nvPr userDrawn="1"/>
        </p:nvSpPr>
        <p:spPr>
          <a:xfrm>
            <a:off x="-788562" y="476106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4-232-195</a:t>
            </a:r>
            <a:endParaRPr lang="ru-RU" sz="600" dirty="0">
              <a:latin typeface="+mn-lt"/>
            </a:endParaRPr>
          </a:p>
        </p:txBody>
      </p:sp>
      <p:sp>
        <p:nvSpPr>
          <p:cNvPr id="106" name="TextBox 105"/>
          <p:cNvSpPr txBox="1"/>
          <p:nvPr userDrawn="1"/>
        </p:nvSpPr>
        <p:spPr>
          <a:xfrm>
            <a:off x="-1188640" y="2576886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47-135-182</a:t>
            </a:r>
            <a:endParaRPr lang="ru-RU" sz="600" dirty="0">
              <a:latin typeface="+mn-lt"/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-1188640" y="219640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32-102-137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8" name="TextBox 107"/>
          <p:cNvSpPr txBox="1"/>
          <p:nvPr userDrawn="1"/>
        </p:nvSpPr>
        <p:spPr>
          <a:xfrm>
            <a:off x="-1201428" y="293179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97-185-233</a:t>
            </a:r>
            <a:endParaRPr lang="ru-RU" sz="600" dirty="0">
              <a:latin typeface="+mn-lt"/>
            </a:endParaRPr>
          </a:p>
        </p:txBody>
      </p:sp>
      <p:sp>
        <p:nvSpPr>
          <p:cNvPr id="109" name="TextBox 108"/>
          <p:cNvSpPr txBox="1"/>
          <p:nvPr userDrawn="1"/>
        </p:nvSpPr>
        <p:spPr>
          <a:xfrm>
            <a:off x="-1188640" y="330978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6-220-244</a:t>
            </a:r>
            <a:endParaRPr lang="ru-RU" sz="600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3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8" r:id="rId9"/>
    <p:sldLayoutId id="2147484419" r:id="rId10"/>
    <p:sldLayoutId id="2147484431" r:id="rId11"/>
    <p:sldLayoutId id="2147484434" r:id="rId12"/>
    <p:sldLayoutId id="2147484523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"/>
            <a:ext cx="8047806" cy="555524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411510"/>
            <a:ext cx="20574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defTabSz="914355" fontAlgn="auto">
              <a:spcBef>
                <a:spcPts val="0"/>
              </a:spcBef>
              <a:spcAft>
                <a:spcPts val="0"/>
              </a:spcAft>
            </a:pPr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  <a:latin typeface="Trebuchet MS"/>
                <a:cs typeface="Arial" pitchFamily="34" charset="0"/>
              </a:rPr>
              <a:pPr defTabSz="91435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  <a:latin typeface="Trebuchet MS"/>
              <a:cs typeface="Arial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67546" y="55116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567844" y="51515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" y="55116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6"/>
          <p:cNvGrpSpPr/>
          <p:nvPr userDrawn="1"/>
        </p:nvGrpSpPr>
        <p:grpSpPr>
          <a:xfrm>
            <a:off x="8094438" y="51470"/>
            <a:ext cx="767210" cy="344046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70537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49" r:id="rId1"/>
    <p:sldLayoutId id="2147484450" r:id="rId2"/>
    <p:sldLayoutId id="2147484453" r:id="rId3"/>
    <p:sldLayoutId id="2147484454" r:id="rId4"/>
    <p:sldLayoutId id="2147484455" r:id="rId5"/>
    <p:sldLayoutId id="2147484456" r:id="rId6"/>
    <p:sldLayoutId id="2147484457" r:id="rId7"/>
    <p:sldLayoutId id="2147484458" r:id="rId8"/>
    <p:sldLayoutId id="2147484459" r:id="rId9"/>
    <p:sldLayoutId id="2147484460" r:id="rId10"/>
    <p:sldLayoutId id="2147484461" r:id="rId11"/>
    <p:sldLayoutId id="2147484462" r:id="rId12"/>
    <p:sldLayoutId id="2147484463" r:id="rId13"/>
    <p:sldLayoutId id="2147484539" r:id="rId14"/>
    <p:sldLayoutId id="2147484540" r:id="rId15"/>
    <p:sldLayoutId id="2147484541" r:id="rId16"/>
    <p:sldLayoutId id="2147484542" r:id="rId17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28588" indent="-228588" algn="l" defTabSz="9143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"/>
            <a:ext cx="8047806" cy="555524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411510"/>
            <a:ext cx="20574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defTabSz="914355" fontAlgn="auto">
              <a:spcBef>
                <a:spcPts val="0"/>
              </a:spcBef>
              <a:spcAft>
                <a:spcPts val="0"/>
              </a:spcAft>
            </a:pPr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  <a:latin typeface="Trebuchet MS"/>
                <a:cs typeface="Arial" pitchFamily="34" charset="0"/>
              </a:rPr>
              <a:pPr defTabSz="91435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  <a:latin typeface="Trebuchet MS"/>
              <a:cs typeface="Arial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67546" y="55116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567844" y="51515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" y="55116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6"/>
          <p:cNvGrpSpPr/>
          <p:nvPr userDrawn="1"/>
        </p:nvGrpSpPr>
        <p:grpSpPr>
          <a:xfrm>
            <a:off x="8094438" y="51470"/>
            <a:ext cx="767210" cy="344046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70537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5" r:id="rId1"/>
    <p:sldLayoutId id="2147484526" r:id="rId2"/>
    <p:sldLayoutId id="2147484527" r:id="rId3"/>
    <p:sldLayoutId id="2147484528" r:id="rId4"/>
    <p:sldLayoutId id="2147484529" r:id="rId5"/>
    <p:sldLayoutId id="2147484530" r:id="rId6"/>
    <p:sldLayoutId id="2147484531" r:id="rId7"/>
    <p:sldLayoutId id="2147484532" r:id="rId8"/>
    <p:sldLayoutId id="2147484533" r:id="rId9"/>
    <p:sldLayoutId id="2147484534" r:id="rId10"/>
    <p:sldLayoutId id="2147484535" r:id="rId11"/>
    <p:sldLayoutId id="2147484536" r:id="rId12"/>
    <p:sldLayoutId id="2147484537" r:id="rId13"/>
    <p:sldLayoutId id="2147484538" r:id="rId14"/>
    <p:sldLayoutId id="2147484544" r:id="rId15"/>
    <p:sldLayoutId id="2147484545" r:id="rId16"/>
    <p:sldLayoutId id="2147484546" r:id="rId17"/>
    <p:sldLayoutId id="2147484547" r:id="rId18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28588" indent="-228588" algn="l" defTabSz="9143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686800" cy="5555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0" y="4869656"/>
            <a:ext cx="50405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3964832-CE18-488F-B9C5-395821014EB5}" type="slidenum">
              <a:rPr lang="ru-RU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3" name="Группа 6"/>
          <p:cNvGrpSpPr/>
          <p:nvPr/>
        </p:nvGrpSpPr>
        <p:grpSpPr>
          <a:xfrm>
            <a:off x="-1620688" y="-28575"/>
            <a:ext cx="1691022" cy="5176838"/>
            <a:chOff x="-1620688" y="-28575"/>
            <a:chExt cx="1691022" cy="5176838"/>
          </a:xfrm>
        </p:grpSpPr>
        <p:sp>
          <p:nvSpPr>
            <p:cNvPr id="8" name="Rectangle 6"/>
            <p:cNvSpPr>
              <a:spLocks noChangeArrowheads="1"/>
            </p:cNvSpPr>
            <p:nvPr userDrawn="1"/>
          </p:nvSpPr>
          <p:spPr bwMode="auto">
            <a:xfrm>
              <a:off x="-374650" y="-17463"/>
              <a:ext cx="366712" cy="366713"/>
            </a:xfrm>
            <a:prstGeom prst="rect">
              <a:avLst/>
            </a:prstGeom>
            <a:solidFill>
              <a:srgbClr val="E21A1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 userDrawn="1"/>
          </p:nvSpPr>
          <p:spPr bwMode="auto">
            <a:xfrm>
              <a:off x="-374650" y="349250"/>
              <a:ext cx="366712" cy="366713"/>
            </a:xfrm>
            <a:prstGeom prst="rect">
              <a:avLst/>
            </a:prstGeom>
            <a:solidFill>
              <a:srgbClr val="394A58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-374650" y="715963"/>
              <a:ext cx="366712" cy="366712"/>
            </a:xfrm>
            <a:prstGeom prst="rect">
              <a:avLst/>
            </a:prstGeom>
            <a:solidFill>
              <a:srgbClr val="455D7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 userDrawn="1"/>
          </p:nvSpPr>
          <p:spPr bwMode="auto">
            <a:xfrm>
              <a:off x="-374650" y="1081088"/>
              <a:ext cx="366712" cy="366712"/>
            </a:xfrm>
            <a:prstGeom prst="rect">
              <a:avLst/>
            </a:prstGeom>
            <a:solidFill>
              <a:srgbClr val="68798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2" name="Rectangle 13"/>
            <p:cNvSpPr>
              <a:spLocks noChangeArrowheads="1"/>
            </p:cNvSpPr>
            <p:nvPr userDrawn="1"/>
          </p:nvSpPr>
          <p:spPr bwMode="auto">
            <a:xfrm>
              <a:off x="-374650" y="1447800"/>
              <a:ext cx="366712" cy="366713"/>
            </a:xfrm>
            <a:prstGeom prst="rect">
              <a:avLst/>
            </a:prstGeom>
            <a:solidFill>
              <a:srgbClr val="909CA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 userDrawn="1"/>
          </p:nvSpPr>
          <p:spPr bwMode="auto">
            <a:xfrm>
              <a:off x="-774700" y="-22225"/>
              <a:ext cx="366712" cy="377825"/>
            </a:xfrm>
            <a:prstGeom prst="rect">
              <a:avLst/>
            </a:prstGeom>
            <a:solidFill>
              <a:srgbClr val="CECCA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 userDrawn="1"/>
          </p:nvSpPr>
          <p:spPr bwMode="auto">
            <a:xfrm>
              <a:off x="-781050" y="3303588"/>
              <a:ext cx="366712" cy="366712"/>
            </a:xfrm>
            <a:prstGeom prst="rect">
              <a:avLst/>
            </a:prstGeom>
            <a:solidFill>
              <a:srgbClr val="78D64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15" name="Rectangle 12"/>
            <p:cNvSpPr>
              <a:spLocks noChangeArrowheads="1"/>
            </p:cNvSpPr>
            <p:nvPr userDrawn="1"/>
          </p:nvSpPr>
          <p:spPr bwMode="auto">
            <a:xfrm>
              <a:off x="-1601788" y="-22225"/>
              <a:ext cx="366713" cy="366713"/>
            </a:xfrm>
            <a:prstGeom prst="rect">
              <a:avLst/>
            </a:prstGeom>
            <a:solidFill>
              <a:srgbClr val="FF690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 userDrawn="1"/>
          </p:nvSpPr>
          <p:spPr bwMode="auto">
            <a:xfrm>
              <a:off x="-374650" y="1828800"/>
              <a:ext cx="366712" cy="366713"/>
            </a:xfrm>
            <a:prstGeom prst="rect">
              <a:avLst/>
            </a:prstGeom>
            <a:solidFill>
              <a:srgbClr val="BFC5CE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 userDrawn="1"/>
          </p:nvSpPr>
          <p:spPr bwMode="auto">
            <a:xfrm>
              <a:off x="-374650" y="2211388"/>
              <a:ext cx="366712" cy="366712"/>
            </a:xfrm>
            <a:prstGeom prst="rect">
              <a:avLst/>
            </a:prstGeom>
            <a:solidFill>
              <a:srgbClr val="60606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 userDrawn="1"/>
          </p:nvSpPr>
          <p:spPr bwMode="auto">
            <a:xfrm>
              <a:off x="-374650" y="2571750"/>
              <a:ext cx="366712" cy="366713"/>
            </a:xfrm>
            <a:prstGeom prst="rect">
              <a:avLst/>
            </a:prstGeom>
            <a:solidFill>
              <a:srgbClr val="828282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-374650" y="2943225"/>
              <a:ext cx="366712" cy="366713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 userDrawn="1"/>
          </p:nvSpPr>
          <p:spPr bwMode="auto">
            <a:xfrm>
              <a:off x="-374650" y="3314700"/>
              <a:ext cx="366712" cy="366713"/>
            </a:xfrm>
            <a:prstGeom prst="rect">
              <a:avLst/>
            </a:prstGeom>
            <a:solidFill>
              <a:srgbClr val="D3D3D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1" name="Rectangle 10"/>
            <p:cNvSpPr>
              <a:spLocks noChangeArrowheads="1"/>
            </p:cNvSpPr>
            <p:nvPr userDrawn="1"/>
          </p:nvSpPr>
          <p:spPr bwMode="auto">
            <a:xfrm>
              <a:off x="-774700" y="355600"/>
              <a:ext cx="366712" cy="366713"/>
            </a:xfrm>
            <a:prstGeom prst="rect">
              <a:avLst/>
            </a:prstGeom>
            <a:solidFill>
              <a:srgbClr val="85865F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-774700" y="715963"/>
              <a:ext cx="366712" cy="366712"/>
            </a:xfrm>
            <a:prstGeom prst="rect">
              <a:avLst/>
            </a:prstGeom>
            <a:solidFill>
              <a:srgbClr val="DDDCB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3" name="Rectangle 10"/>
            <p:cNvSpPr>
              <a:spLocks noChangeArrowheads="1"/>
            </p:cNvSpPr>
            <p:nvPr userDrawn="1"/>
          </p:nvSpPr>
          <p:spPr bwMode="auto">
            <a:xfrm>
              <a:off x="-774700" y="1082675"/>
              <a:ext cx="366712" cy="366713"/>
            </a:xfrm>
            <a:prstGeom prst="rect">
              <a:avLst/>
            </a:prstGeom>
            <a:solidFill>
              <a:srgbClr val="EBEAD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4" name="Rectangle 10"/>
            <p:cNvSpPr>
              <a:spLocks noChangeArrowheads="1"/>
            </p:cNvSpPr>
            <p:nvPr userDrawn="1"/>
          </p:nvSpPr>
          <p:spPr bwMode="auto">
            <a:xfrm>
              <a:off x="-774700" y="1447800"/>
              <a:ext cx="366712" cy="388938"/>
            </a:xfrm>
            <a:prstGeom prst="rect">
              <a:avLst/>
            </a:prstGeom>
            <a:solidFill>
              <a:srgbClr val="A3A86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-774700" y="1836738"/>
              <a:ext cx="366712" cy="366712"/>
            </a:xfrm>
            <a:prstGeom prst="rect">
              <a:avLst/>
            </a:prstGeom>
            <a:solidFill>
              <a:srgbClr val="626B45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-774700" y="2203450"/>
              <a:ext cx="366712" cy="366713"/>
            </a:xfrm>
            <a:prstGeom prst="rect">
              <a:avLst/>
            </a:prstGeom>
            <a:solidFill>
              <a:srgbClr val="828B5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7" name="Rectangle 10"/>
            <p:cNvSpPr>
              <a:spLocks noChangeArrowheads="1"/>
            </p:cNvSpPr>
            <p:nvPr userDrawn="1"/>
          </p:nvSpPr>
          <p:spPr bwMode="auto">
            <a:xfrm>
              <a:off x="-774700" y="2570163"/>
              <a:ext cx="366712" cy="366712"/>
            </a:xfrm>
            <a:prstGeom prst="rect">
              <a:avLst/>
            </a:prstGeom>
            <a:solidFill>
              <a:srgbClr val="B2B98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-774700" y="2936875"/>
              <a:ext cx="366712" cy="366713"/>
            </a:xfrm>
            <a:prstGeom prst="rect">
              <a:avLst/>
            </a:prstGeom>
            <a:solidFill>
              <a:srgbClr val="D3D7BD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9" name="Rectangle 10"/>
            <p:cNvSpPr>
              <a:spLocks noChangeArrowheads="1"/>
            </p:cNvSpPr>
            <p:nvPr userDrawn="1"/>
          </p:nvSpPr>
          <p:spPr bwMode="auto">
            <a:xfrm>
              <a:off x="-1189038" y="-22225"/>
              <a:ext cx="366713" cy="377825"/>
            </a:xfrm>
            <a:prstGeom prst="rect">
              <a:avLst/>
            </a:prstGeom>
            <a:solidFill>
              <a:srgbClr val="0066A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-1189038" y="355600"/>
              <a:ext cx="366713" cy="366713"/>
            </a:xfrm>
            <a:prstGeom prst="rect">
              <a:avLst/>
            </a:prstGeom>
            <a:solidFill>
              <a:srgbClr val="00335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1" name="Rectangle 10"/>
            <p:cNvSpPr>
              <a:spLocks noChangeArrowheads="1"/>
            </p:cNvSpPr>
            <p:nvPr userDrawn="1"/>
          </p:nvSpPr>
          <p:spPr bwMode="auto">
            <a:xfrm>
              <a:off x="-1189038" y="715963"/>
              <a:ext cx="366713" cy="366712"/>
            </a:xfrm>
            <a:prstGeom prst="rect">
              <a:avLst/>
            </a:prstGeom>
            <a:solidFill>
              <a:srgbClr val="00507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2" name="Rectangle 10"/>
            <p:cNvSpPr>
              <a:spLocks noChangeArrowheads="1"/>
            </p:cNvSpPr>
            <p:nvPr userDrawn="1"/>
          </p:nvSpPr>
          <p:spPr bwMode="auto">
            <a:xfrm>
              <a:off x="-1189038" y="1082675"/>
              <a:ext cx="366713" cy="366713"/>
            </a:xfrm>
            <a:prstGeom prst="rect">
              <a:avLst/>
            </a:prstGeom>
            <a:solidFill>
              <a:srgbClr val="007FB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-1189038" y="1447800"/>
              <a:ext cx="366713" cy="388938"/>
            </a:xfrm>
            <a:prstGeom prst="rect">
              <a:avLst/>
            </a:prstGeom>
            <a:solidFill>
              <a:srgbClr val="8AB0D2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4" name="Rectangle 10"/>
            <p:cNvSpPr>
              <a:spLocks noChangeArrowheads="1"/>
            </p:cNvSpPr>
            <p:nvPr userDrawn="1"/>
          </p:nvSpPr>
          <p:spPr bwMode="auto">
            <a:xfrm>
              <a:off x="-1189038" y="1825625"/>
              <a:ext cx="366713" cy="373063"/>
            </a:xfrm>
            <a:prstGeom prst="rect">
              <a:avLst/>
            </a:prstGeom>
            <a:solidFill>
              <a:srgbClr val="00A3E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5" name="Rectangle 10"/>
            <p:cNvSpPr>
              <a:spLocks noChangeArrowheads="1"/>
            </p:cNvSpPr>
            <p:nvPr userDrawn="1"/>
          </p:nvSpPr>
          <p:spPr bwMode="auto">
            <a:xfrm>
              <a:off x="-1189038" y="2198688"/>
              <a:ext cx="366713" cy="373062"/>
            </a:xfrm>
            <a:prstGeom prst="rect">
              <a:avLst/>
            </a:prstGeom>
            <a:solidFill>
              <a:srgbClr val="20668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6" name="Rectangle 10"/>
            <p:cNvSpPr>
              <a:spLocks noChangeArrowheads="1"/>
            </p:cNvSpPr>
            <p:nvPr userDrawn="1"/>
          </p:nvSpPr>
          <p:spPr bwMode="auto">
            <a:xfrm>
              <a:off x="-1189038" y="2570163"/>
              <a:ext cx="366713" cy="373062"/>
            </a:xfrm>
            <a:prstGeom prst="rect">
              <a:avLst/>
            </a:prstGeom>
            <a:solidFill>
              <a:srgbClr val="2F87B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7" name="Rectangle 10"/>
            <p:cNvSpPr>
              <a:spLocks noChangeArrowheads="1"/>
            </p:cNvSpPr>
            <p:nvPr userDrawn="1"/>
          </p:nvSpPr>
          <p:spPr bwMode="auto">
            <a:xfrm>
              <a:off x="-1189038" y="2941638"/>
              <a:ext cx="366713" cy="373062"/>
            </a:xfrm>
            <a:prstGeom prst="rect">
              <a:avLst/>
            </a:prstGeom>
            <a:solidFill>
              <a:srgbClr val="61B9E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8" name="Rectangle 10"/>
            <p:cNvSpPr>
              <a:spLocks noChangeArrowheads="1"/>
            </p:cNvSpPr>
            <p:nvPr userDrawn="1"/>
          </p:nvSpPr>
          <p:spPr bwMode="auto">
            <a:xfrm>
              <a:off x="-1189038" y="3303588"/>
              <a:ext cx="366713" cy="373062"/>
            </a:xfrm>
            <a:prstGeom prst="rect">
              <a:avLst/>
            </a:prstGeom>
            <a:solidFill>
              <a:srgbClr val="B0DCF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9" name="Rectangle 12"/>
            <p:cNvSpPr>
              <a:spLocks noChangeArrowheads="1"/>
            </p:cNvSpPr>
            <p:nvPr userDrawn="1"/>
          </p:nvSpPr>
          <p:spPr bwMode="auto">
            <a:xfrm>
              <a:off x="-781050" y="3676650"/>
              <a:ext cx="366712" cy="366713"/>
            </a:xfrm>
            <a:prstGeom prst="rect">
              <a:avLst/>
            </a:prstGeom>
            <a:solidFill>
              <a:srgbClr val="65844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0" name="Rectangle 12"/>
            <p:cNvSpPr>
              <a:spLocks noChangeArrowheads="1"/>
            </p:cNvSpPr>
            <p:nvPr userDrawn="1"/>
          </p:nvSpPr>
          <p:spPr bwMode="auto">
            <a:xfrm>
              <a:off x="-781050" y="4043363"/>
              <a:ext cx="366712" cy="366712"/>
            </a:xfrm>
            <a:prstGeom prst="rect">
              <a:avLst/>
            </a:prstGeom>
            <a:solidFill>
              <a:srgbClr val="7FA357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1" name="Rectangle 12"/>
            <p:cNvSpPr>
              <a:spLocks noChangeArrowheads="1"/>
            </p:cNvSpPr>
            <p:nvPr userDrawn="1"/>
          </p:nvSpPr>
          <p:spPr bwMode="auto">
            <a:xfrm>
              <a:off x="-781050" y="4410075"/>
              <a:ext cx="366712" cy="366713"/>
            </a:xfrm>
            <a:prstGeom prst="rect">
              <a:avLst/>
            </a:prstGeom>
            <a:solidFill>
              <a:srgbClr val="AED08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2" name="Rectangle 12"/>
            <p:cNvSpPr>
              <a:spLocks noChangeArrowheads="1"/>
            </p:cNvSpPr>
            <p:nvPr userDrawn="1"/>
          </p:nvSpPr>
          <p:spPr bwMode="auto">
            <a:xfrm>
              <a:off x="-781050" y="4781550"/>
              <a:ext cx="366712" cy="366713"/>
            </a:xfrm>
            <a:prstGeom prst="rect">
              <a:avLst/>
            </a:prstGeom>
            <a:solidFill>
              <a:srgbClr val="D6E8C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3" name="Rectangle 12"/>
            <p:cNvSpPr>
              <a:spLocks noChangeArrowheads="1"/>
            </p:cNvSpPr>
            <p:nvPr userDrawn="1"/>
          </p:nvSpPr>
          <p:spPr bwMode="auto">
            <a:xfrm>
              <a:off x="-1601788" y="334963"/>
              <a:ext cx="366713" cy="366712"/>
            </a:xfrm>
            <a:prstGeom prst="rect">
              <a:avLst/>
            </a:prstGeom>
            <a:solidFill>
              <a:srgbClr val="80503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4" name="Rectangle 12"/>
            <p:cNvSpPr>
              <a:spLocks noChangeArrowheads="1"/>
            </p:cNvSpPr>
            <p:nvPr userDrawn="1"/>
          </p:nvSpPr>
          <p:spPr bwMode="auto">
            <a:xfrm>
              <a:off x="-1601788" y="701675"/>
              <a:ext cx="366713" cy="366713"/>
            </a:xfrm>
            <a:prstGeom prst="rect">
              <a:avLst/>
            </a:prstGeom>
            <a:solidFill>
              <a:srgbClr val="AC6B2F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5" name="Rectangle 12"/>
            <p:cNvSpPr>
              <a:spLocks noChangeArrowheads="1"/>
            </p:cNvSpPr>
            <p:nvPr userDrawn="1"/>
          </p:nvSpPr>
          <p:spPr bwMode="auto">
            <a:xfrm>
              <a:off x="-1601788" y="1068388"/>
              <a:ext cx="366713" cy="366712"/>
            </a:xfrm>
            <a:prstGeom prst="rect">
              <a:avLst/>
            </a:prstGeom>
            <a:solidFill>
              <a:srgbClr val="E4A06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6" name="Rectangle 12"/>
            <p:cNvSpPr>
              <a:spLocks noChangeArrowheads="1"/>
            </p:cNvSpPr>
            <p:nvPr userDrawn="1"/>
          </p:nvSpPr>
          <p:spPr bwMode="auto">
            <a:xfrm>
              <a:off x="-1601788" y="1435100"/>
              <a:ext cx="366713" cy="366713"/>
            </a:xfrm>
            <a:prstGeom prst="rect">
              <a:avLst/>
            </a:prstGeom>
            <a:solidFill>
              <a:srgbClr val="F1D0B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7" name="TextBox 46"/>
            <p:cNvSpPr txBox="1"/>
            <p:nvPr userDrawn="1"/>
          </p:nvSpPr>
          <p:spPr>
            <a:xfrm>
              <a:off x="-393018" y="331101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1-211-211</a:t>
              </a:r>
            </a:p>
          </p:txBody>
        </p:sp>
        <p:sp>
          <p:nvSpPr>
            <p:cNvPr id="48" name="TextBox 47"/>
            <p:cNvSpPr txBox="1"/>
            <p:nvPr userDrawn="1"/>
          </p:nvSpPr>
          <p:spPr>
            <a:xfrm>
              <a:off x="-393018" y="294099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69-169-169</a:t>
              </a:r>
            </a:p>
          </p:txBody>
        </p:sp>
        <p:sp>
          <p:nvSpPr>
            <p:cNvPr id="49" name="TextBox 48"/>
            <p:cNvSpPr txBox="1"/>
            <p:nvPr userDrawn="1"/>
          </p:nvSpPr>
          <p:spPr>
            <a:xfrm>
              <a:off x="-1620688" y="-28575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55-105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</a:t>
              </a:r>
            </a:p>
          </p:txBody>
        </p:sp>
        <p:sp>
          <p:nvSpPr>
            <p:cNvPr id="50" name="TextBox 49"/>
            <p:cNvSpPr txBox="1"/>
            <p:nvPr userDrawn="1"/>
          </p:nvSpPr>
          <p:spPr>
            <a:xfrm>
              <a:off x="-1193360" y="-2221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102-161</a:t>
              </a:r>
            </a:p>
          </p:txBody>
        </p:sp>
        <p:sp>
          <p:nvSpPr>
            <p:cNvPr id="51" name="TextBox 50"/>
            <p:cNvSpPr txBox="1"/>
            <p:nvPr userDrawn="1"/>
          </p:nvSpPr>
          <p:spPr>
            <a:xfrm>
              <a:off x="-393018" y="-19182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226-26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26</a:t>
              </a:r>
            </a:p>
          </p:txBody>
        </p:sp>
        <p:sp>
          <p:nvSpPr>
            <p:cNvPr id="52" name="TextBox 51"/>
            <p:cNvSpPr txBox="1"/>
            <p:nvPr userDrawn="1"/>
          </p:nvSpPr>
          <p:spPr>
            <a:xfrm>
              <a:off x="-1620688" y="343663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28-80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48</a:t>
              </a:r>
            </a:p>
          </p:txBody>
        </p:sp>
        <p:sp>
          <p:nvSpPr>
            <p:cNvPr id="53" name="TextBox 52"/>
            <p:cNvSpPr txBox="1"/>
            <p:nvPr userDrawn="1"/>
          </p:nvSpPr>
          <p:spPr>
            <a:xfrm>
              <a:off x="-791292" y="34870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3-134-95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-791292" y="-1918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06-204-160</a:t>
              </a:r>
            </a:p>
          </p:txBody>
        </p:sp>
        <p:sp>
          <p:nvSpPr>
            <p:cNvPr id="55" name="TextBox 54"/>
            <p:cNvSpPr txBox="1"/>
            <p:nvPr userDrawn="1"/>
          </p:nvSpPr>
          <p:spPr>
            <a:xfrm>
              <a:off x="-1620688" y="715901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2-107-47</a:t>
              </a:r>
            </a:p>
          </p:txBody>
        </p:sp>
        <p:sp>
          <p:nvSpPr>
            <p:cNvPr id="56" name="TextBox 55"/>
            <p:cNvSpPr txBox="1"/>
            <p:nvPr userDrawn="1"/>
          </p:nvSpPr>
          <p:spPr>
            <a:xfrm>
              <a:off x="-791292" y="108448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35-234-212</a:t>
              </a:r>
            </a:p>
          </p:txBody>
        </p:sp>
        <p:sp>
          <p:nvSpPr>
            <p:cNvPr id="57" name="TextBox 56"/>
            <p:cNvSpPr txBox="1"/>
            <p:nvPr userDrawn="1"/>
          </p:nvSpPr>
          <p:spPr>
            <a:xfrm>
              <a:off x="-1620688" y="1088139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28-160-99</a:t>
              </a:r>
            </a:p>
          </p:txBody>
        </p:sp>
        <p:sp>
          <p:nvSpPr>
            <p:cNvPr id="58" name="TextBox 57"/>
            <p:cNvSpPr txBox="1"/>
            <p:nvPr userDrawn="1"/>
          </p:nvSpPr>
          <p:spPr>
            <a:xfrm>
              <a:off x="-791292" y="71659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21-220-180</a:t>
              </a:r>
            </a:p>
          </p:txBody>
        </p:sp>
        <p:sp>
          <p:nvSpPr>
            <p:cNvPr id="59" name="TextBox 58"/>
            <p:cNvSpPr txBox="1"/>
            <p:nvPr userDrawn="1"/>
          </p:nvSpPr>
          <p:spPr>
            <a:xfrm>
              <a:off x="-791292" y="145237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63-168-107</a:t>
              </a:r>
            </a:p>
          </p:txBody>
        </p:sp>
        <p:sp>
          <p:nvSpPr>
            <p:cNvPr id="60" name="TextBox 59"/>
            <p:cNvSpPr txBox="1"/>
            <p:nvPr userDrawn="1"/>
          </p:nvSpPr>
          <p:spPr>
            <a:xfrm>
              <a:off x="-1620688" y="1460376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41-208-177</a:t>
              </a:r>
            </a:p>
          </p:txBody>
        </p:sp>
        <p:sp>
          <p:nvSpPr>
            <p:cNvPr id="61" name="TextBox 60"/>
            <p:cNvSpPr txBox="1"/>
            <p:nvPr userDrawn="1"/>
          </p:nvSpPr>
          <p:spPr>
            <a:xfrm>
              <a:off x="-393018" y="1460906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44-156-170</a:t>
              </a:r>
            </a:p>
          </p:txBody>
        </p:sp>
        <p:sp>
          <p:nvSpPr>
            <p:cNvPr id="62" name="TextBox 61"/>
            <p:cNvSpPr txBox="1"/>
            <p:nvPr userDrawn="1"/>
          </p:nvSpPr>
          <p:spPr>
            <a:xfrm>
              <a:off x="-392010" y="339502"/>
              <a:ext cx="36004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57-74-88</a:t>
              </a:r>
            </a:p>
          </p:txBody>
        </p:sp>
        <p:sp>
          <p:nvSpPr>
            <p:cNvPr id="63" name="TextBox 62"/>
            <p:cNvSpPr txBox="1"/>
            <p:nvPr userDrawn="1"/>
          </p:nvSpPr>
          <p:spPr>
            <a:xfrm>
              <a:off x="-393018" y="72086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69-93-112</a:t>
              </a:r>
            </a:p>
          </p:txBody>
        </p:sp>
        <p:sp>
          <p:nvSpPr>
            <p:cNvPr id="64" name="TextBox 63"/>
            <p:cNvSpPr txBox="1"/>
            <p:nvPr userDrawn="1"/>
          </p:nvSpPr>
          <p:spPr>
            <a:xfrm>
              <a:off x="-393018" y="109088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04-121-139</a:t>
              </a:r>
            </a:p>
          </p:txBody>
        </p:sp>
        <p:sp>
          <p:nvSpPr>
            <p:cNvPr id="65" name="TextBox 64"/>
            <p:cNvSpPr txBox="1"/>
            <p:nvPr userDrawn="1"/>
          </p:nvSpPr>
          <p:spPr>
            <a:xfrm>
              <a:off x="-393018" y="183092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91-197-206</a:t>
              </a:r>
            </a:p>
          </p:txBody>
        </p:sp>
        <p:sp>
          <p:nvSpPr>
            <p:cNvPr id="66" name="TextBox 65"/>
            <p:cNvSpPr txBox="1"/>
            <p:nvPr userDrawn="1"/>
          </p:nvSpPr>
          <p:spPr>
            <a:xfrm>
              <a:off x="-393018" y="220095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96-96-96</a:t>
              </a:r>
            </a:p>
          </p:txBody>
        </p:sp>
        <p:sp>
          <p:nvSpPr>
            <p:cNvPr id="67" name="TextBox 66"/>
            <p:cNvSpPr txBox="1"/>
            <p:nvPr userDrawn="1"/>
          </p:nvSpPr>
          <p:spPr>
            <a:xfrm>
              <a:off x="-393018" y="257097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30-130-130</a:t>
              </a:r>
            </a:p>
          </p:txBody>
        </p:sp>
        <p:sp>
          <p:nvSpPr>
            <p:cNvPr id="68" name="TextBox 67"/>
            <p:cNvSpPr txBox="1"/>
            <p:nvPr userDrawn="1"/>
          </p:nvSpPr>
          <p:spPr>
            <a:xfrm>
              <a:off x="-791292" y="218815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0-139-92</a:t>
              </a:r>
            </a:p>
          </p:txBody>
        </p:sp>
        <p:sp>
          <p:nvSpPr>
            <p:cNvPr id="69" name="TextBox 68"/>
            <p:cNvSpPr txBox="1"/>
            <p:nvPr userDrawn="1"/>
          </p:nvSpPr>
          <p:spPr>
            <a:xfrm>
              <a:off x="-791292" y="182026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98-107-69</a:t>
              </a:r>
            </a:p>
          </p:txBody>
        </p:sp>
        <p:sp>
          <p:nvSpPr>
            <p:cNvPr id="70" name="TextBox 69"/>
            <p:cNvSpPr txBox="1"/>
            <p:nvPr userDrawn="1"/>
          </p:nvSpPr>
          <p:spPr>
            <a:xfrm>
              <a:off x="-791292" y="292393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1-215-189</a:t>
              </a:r>
            </a:p>
          </p:txBody>
        </p:sp>
        <p:sp>
          <p:nvSpPr>
            <p:cNvPr id="71" name="TextBox 70"/>
            <p:cNvSpPr txBox="1"/>
            <p:nvPr userDrawn="1"/>
          </p:nvSpPr>
          <p:spPr>
            <a:xfrm>
              <a:off x="-791292" y="255604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8-185-137</a:t>
              </a:r>
            </a:p>
          </p:txBody>
        </p:sp>
        <p:sp>
          <p:nvSpPr>
            <p:cNvPr id="72" name="TextBox 71"/>
            <p:cNvSpPr txBox="1"/>
            <p:nvPr userDrawn="1"/>
          </p:nvSpPr>
          <p:spPr>
            <a:xfrm>
              <a:off x="-791292" y="329183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20-214-75</a:t>
              </a:r>
            </a:p>
          </p:txBody>
        </p:sp>
        <p:sp>
          <p:nvSpPr>
            <p:cNvPr id="73" name="TextBox 72"/>
            <p:cNvSpPr txBox="1"/>
            <p:nvPr userDrawn="1"/>
          </p:nvSpPr>
          <p:spPr>
            <a:xfrm>
              <a:off x="-1188640" y="69954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80-124</a:t>
              </a: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-1188640" y="33950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51-86</a:t>
              </a:r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-1195034" y="144006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8-176-210</a:t>
              </a:r>
            </a:p>
          </p:txBody>
        </p:sp>
        <p:sp>
          <p:nvSpPr>
            <p:cNvPr id="76" name="TextBox 75"/>
            <p:cNvSpPr txBox="1"/>
            <p:nvPr userDrawn="1"/>
          </p:nvSpPr>
          <p:spPr>
            <a:xfrm>
              <a:off x="-1178168" y="105958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-127-177</a:t>
              </a:r>
            </a:p>
          </p:txBody>
        </p:sp>
        <p:sp>
          <p:nvSpPr>
            <p:cNvPr id="77" name="TextBox 76"/>
            <p:cNvSpPr txBox="1"/>
            <p:nvPr userDrawn="1"/>
          </p:nvSpPr>
          <p:spPr>
            <a:xfrm>
              <a:off x="-1201428" y="182693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-163-224</a:t>
              </a:r>
            </a:p>
          </p:txBody>
        </p:sp>
        <p:sp>
          <p:nvSpPr>
            <p:cNvPr id="78" name="TextBox 77"/>
            <p:cNvSpPr txBox="1"/>
            <p:nvPr userDrawn="1"/>
          </p:nvSpPr>
          <p:spPr>
            <a:xfrm>
              <a:off x="-788562" y="365739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01-132-70</a:t>
              </a:r>
            </a:p>
          </p:txBody>
        </p:sp>
        <p:sp>
          <p:nvSpPr>
            <p:cNvPr id="79" name="TextBox 78"/>
            <p:cNvSpPr txBox="1"/>
            <p:nvPr userDrawn="1"/>
          </p:nvSpPr>
          <p:spPr>
            <a:xfrm>
              <a:off x="-788562" y="439317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4-208-134</a:t>
              </a:r>
            </a:p>
          </p:txBody>
        </p:sp>
        <p:sp>
          <p:nvSpPr>
            <p:cNvPr id="80" name="TextBox 79"/>
            <p:cNvSpPr txBox="1"/>
            <p:nvPr userDrawn="1"/>
          </p:nvSpPr>
          <p:spPr>
            <a:xfrm>
              <a:off x="-788562" y="402528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27-163-87</a:t>
              </a:r>
            </a:p>
          </p:txBody>
        </p:sp>
        <p:sp>
          <p:nvSpPr>
            <p:cNvPr id="81" name="TextBox 80"/>
            <p:cNvSpPr txBox="1"/>
            <p:nvPr userDrawn="1"/>
          </p:nvSpPr>
          <p:spPr>
            <a:xfrm>
              <a:off x="-788562" y="476106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4-232-195</a:t>
              </a:r>
            </a:p>
          </p:txBody>
        </p:sp>
        <p:sp>
          <p:nvSpPr>
            <p:cNvPr id="82" name="TextBox 81"/>
            <p:cNvSpPr txBox="1"/>
            <p:nvPr userDrawn="1"/>
          </p:nvSpPr>
          <p:spPr>
            <a:xfrm>
              <a:off x="-1188640" y="2576886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47-135-182</a:t>
              </a:r>
            </a:p>
          </p:txBody>
        </p:sp>
        <p:sp>
          <p:nvSpPr>
            <p:cNvPr id="83" name="TextBox 82"/>
            <p:cNvSpPr txBox="1"/>
            <p:nvPr userDrawn="1"/>
          </p:nvSpPr>
          <p:spPr>
            <a:xfrm>
              <a:off x="-1188640" y="219640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32-102-137</a:t>
              </a:r>
            </a:p>
          </p:txBody>
        </p:sp>
        <p:sp>
          <p:nvSpPr>
            <p:cNvPr id="84" name="TextBox 83"/>
            <p:cNvSpPr txBox="1"/>
            <p:nvPr userDrawn="1"/>
          </p:nvSpPr>
          <p:spPr>
            <a:xfrm>
              <a:off x="-1201428" y="293179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97-185-233</a:t>
              </a:r>
            </a:p>
          </p:txBody>
        </p:sp>
        <p:sp>
          <p:nvSpPr>
            <p:cNvPr id="85" name="TextBox 84"/>
            <p:cNvSpPr txBox="1"/>
            <p:nvPr userDrawn="1"/>
          </p:nvSpPr>
          <p:spPr>
            <a:xfrm>
              <a:off x="-1188640" y="330978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6-220-244</a:t>
              </a:r>
            </a:p>
          </p:txBody>
        </p:sp>
      </p:grpSp>
      <p:grpSp>
        <p:nvGrpSpPr>
          <p:cNvPr id="4" name="Группа 85"/>
          <p:cNvGrpSpPr/>
          <p:nvPr/>
        </p:nvGrpSpPr>
        <p:grpSpPr>
          <a:xfrm>
            <a:off x="8388424" y="115858"/>
            <a:ext cx="473224" cy="216024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7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  <p:sp>
          <p:nvSpPr>
            <p:cNvPr id="88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  <p:sp>
          <p:nvSpPr>
            <p:cNvPr id="89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</p:grpSp>
      <p:cxnSp>
        <p:nvCxnSpPr>
          <p:cNvPr id="90" name="Прямая соединительная линия 89"/>
          <p:cNvCxnSpPr/>
          <p:nvPr/>
        </p:nvCxnSpPr>
        <p:spPr>
          <a:xfrm>
            <a:off x="467546" y="51952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Овал 90"/>
          <p:cNvSpPr/>
          <p:nvPr/>
        </p:nvSpPr>
        <p:spPr>
          <a:xfrm>
            <a:off x="567844" y="48351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>
            <a:off x="1" y="51952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49" r:id="rId1"/>
    <p:sldLayoutId id="2147484550" r:id="rId2"/>
    <p:sldLayoutId id="2147484551" r:id="rId3"/>
    <p:sldLayoutId id="2147484552" r:id="rId4"/>
    <p:sldLayoutId id="2147484553" r:id="rId5"/>
    <p:sldLayoutId id="2147484554" r:id="rId6"/>
    <p:sldLayoutId id="2147484555" r:id="rId7"/>
    <p:sldLayoutId id="2147484556" r:id="rId8"/>
    <p:sldLayoutId id="2147484557" r:id="rId9"/>
    <p:sldLayoutId id="2147484558" r:id="rId10"/>
    <p:sldLayoutId id="2147484559" r:id="rId11"/>
    <p:sldLayoutId id="2147484560" r:id="rId12"/>
    <p:sldLayoutId id="2147484561" r:id="rId13"/>
    <p:sldLayoutId id="2147484562" r:id="rId14"/>
    <p:sldLayoutId id="2147484564" r:id="rId15"/>
    <p:sldLayoutId id="2147484565" r:id="rId16"/>
    <p:sldLayoutId id="2147484566" r:id="rId17"/>
    <p:sldLayoutId id="2147484567" r:id="rId18"/>
    <p:sldLayoutId id="2147484568" r:id="rId19"/>
    <p:sldLayoutId id="2147484569" r:id="rId20"/>
    <p:sldLayoutId id="2147484570" r:id="rId21"/>
    <p:sldLayoutId id="2147484571" r:id="rId22"/>
    <p:sldLayoutId id="2147484572" r:id="rId23"/>
    <p:sldLayoutId id="2147484573" r:id="rId24"/>
    <p:sldLayoutId id="2147484574" r:id="rId25"/>
    <p:sldLayoutId id="2147484575" r:id="rId26"/>
    <p:sldLayoutId id="2147484576" r:id="rId27"/>
    <p:sldLayoutId id="2147484577" r:id="rId28"/>
    <p:sldLayoutId id="2147484578" r:id="rId29"/>
    <p:sldLayoutId id="2147484579" r:id="rId30"/>
    <p:sldLayoutId id="2147484580" r:id="rId31"/>
    <p:sldLayoutId id="2147484581" r:id="rId32"/>
    <p:sldLayoutId id="2147484582" r:id="rId33"/>
    <p:sldLayoutId id="2147484583" r:id="rId34"/>
    <p:sldLayoutId id="2147484584" r:id="rId35"/>
    <p:sldLayoutId id="2147484585" r:id="rId36"/>
    <p:sldLayoutId id="2147484586" r:id="rId37"/>
    <p:sldLayoutId id="2147484590" r:id="rId38"/>
    <p:sldLayoutId id="2147484592" r:id="rId39"/>
    <p:sldLayoutId id="2147484593" r:id="rId40"/>
    <p:sldLayoutId id="2147484596" r:id="rId41"/>
    <p:sldLayoutId id="2147484597" r:id="rId4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4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5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6524" y="133973"/>
            <a:ext cx="8316416" cy="307754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тистические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нные о столкновениях и пострадавших</a:t>
            </a:r>
            <a:r>
              <a:rPr kumimoji="0" lang="ru-RU" sz="14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23528" y="1995686"/>
            <a:ext cx="8568952" cy="2160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1642137103"/>
              </p:ext>
            </p:extLst>
          </p:nvPr>
        </p:nvGraphicFramePr>
        <p:xfrm>
          <a:off x="215516" y="920159"/>
          <a:ext cx="3182084" cy="2011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3275856" y="663538"/>
            <a:ext cx="2700300" cy="360040"/>
          </a:xfrm>
          <a:prstGeom prst="roundRect">
            <a:avLst/>
          </a:prstGeom>
          <a:solidFill>
            <a:schemeClr val="tx2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истекший период  2025 года на сети железных дорог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val="824470346"/>
              </p:ext>
            </p:extLst>
          </p:nvPr>
        </p:nvGraphicFramePr>
        <p:xfrm>
          <a:off x="3108568" y="1095586"/>
          <a:ext cx="3315962" cy="18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56615" y="2666624"/>
            <a:ext cx="8658962" cy="2317394"/>
          </a:xfrm>
          <a:prstGeom prst="roundRect">
            <a:avLst/>
          </a:prstGeom>
          <a:solidFill>
            <a:schemeClr val="tx2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истекший период 2025 г.  в границах Красноярской железной дороги:</a:t>
            </a:r>
          </a:p>
          <a:p>
            <a:pPr algn="just"/>
            <a:r>
              <a:rPr lang="ru-RU" sz="9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</a:t>
            </a:r>
            <a:r>
              <a:rPr lang="ru-RU" sz="9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ЕСТЬ </a:t>
            </a:r>
            <a:r>
              <a:rPr lang="ru-RU" sz="9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рожно-транспортных происшествий на железнодорожных </a:t>
            </a:r>
            <a:r>
              <a:rPr lang="ru-RU" sz="9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ах: </a:t>
            </a:r>
            <a:r>
              <a:rPr lang="en-US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8 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м перегон Красноярские Столбы – Дивногорск (поселок Овсянка) допущено </a:t>
            </a:r>
            <a:r>
              <a:rPr lang="ru-RU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электропоезда с легковым автомобилем марки «</a:t>
            </a:r>
            <a:r>
              <a:rPr lang="en-US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LVO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895 км станция Абакумовка, в границах Иланского района допущено  </a:t>
            </a:r>
            <a:r>
              <a:rPr lang="ru-RU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 грузового поезда с легковым автомобилем марки «Mazda Axela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291 км перегон Аскиз – Чартыковский в границах Аскизского района допущено </a:t>
            </a:r>
            <a:r>
              <a:rPr lang="ru-RU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 грузового поезда с легковым автомобилем марки 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en-US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yota </a:t>
            </a:r>
            <a:r>
              <a:rPr lang="en-US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box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, 4 </a:t>
            </a:r>
            <a:r>
              <a:rPr lang="ru-RU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м 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гон </a:t>
            </a:r>
            <a:r>
              <a:rPr lang="ru-RU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асноярские Столбы -Дивногорск (г. Красноярск) допущено  столкновение  электропоезда с легковым автомобилем марки «</a:t>
            </a:r>
            <a:r>
              <a:rPr lang="en-US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NDERO</a:t>
            </a:r>
            <a:r>
              <a:rPr lang="ru-RU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nault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570 км на Путевом посту 570 км в границах Курагинского района допущено столкновение одиночного электровоза с легковым автомобилем марки «</a:t>
            </a:r>
            <a:r>
              <a:rPr lang="en-US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yundai </a:t>
            </a:r>
            <a:r>
              <a:rPr lang="en-US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eta</a:t>
            </a:r>
            <a:r>
              <a:rPr lang="ru-RU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73 км перегон Карай – Чульжан (Междуреченский район) допущено столкновение поезда с легковым автомобилем «</a:t>
            </a:r>
            <a:r>
              <a:rPr lang="en-US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koda Rapid</a:t>
            </a:r>
            <a:r>
              <a:rPr lang="ru-RU" sz="9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за аналогичный период прошлого года 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– 1 ДТП за </a:t>
            </a:r>
            <a:r>
              <a:rPr lang="ru-RU" sz="900" b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есь год – 3 ДТП). </a:t>
            </a:r>
            <a:endParaRPr lang="ru-RU" sz="900" b="1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9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ЕТЫРЕ дорожно-транспортных происшествий на железнодорожных переездах без столкновения с подвижным составом: </a:t>
            </a:r>
            <a:r>
              <a:rPr lang="ru-RU" sz="9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847 км перегон Боготол – Вагино, в границах города Боготола, обслуживаемым дежурным работником, допущен наезд на световую и звуковую сигнализацию водителем легкового автомобиля «</a:t>
            </a:r>
            <a:r>
              <a:rPr lang="en-US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D ESCAPE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;  на 836 км перегон Ирбейская – Коростелёво, в границах Ирбейского района, при следовании через переезд  лесовоза «УРАЛ» допущен разрыв стропы увязки груза, в следствие чего в границах переезда упало 3 бревна, 2 случая </a:t>
            </a:r>
            <a:r>
              <a:rPr lang="ru-RU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границах Нижнеингашского района на </a:t>
            </a:r>
            <a:r>
              <a:rPr lang="ru-RU" sz="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397 км  ст. Сулемка водитель легкового автомобиля  на большой скорости допустил наезд на столб электроосвещения и случай и на 4450 км водитель автомобиля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состоянии алкогольного опьянения на большой скорости допустил наезд на горизонтально-поворотный шлагбаум и в столб электроосвещения</a:t>
            </a: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347529491"/>
              </p:ext>
            </p:extLst>
          </p:nvPr>
        </p:nvGraphicFramePr>
        <p:xfrm>
          <a:off x="20" y="1095586"/>
          <a:ext cx="3315962" cy="18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07504" y="663538"/>
            <a:ext cx="2916324" cy="360040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аналогичный период 2024 года на сети железных дорог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Скругленный прямоугольник 75">
            <a:extLst>
              <a:ext uri="{FF2B5EF4-FFF2-40B4-BE49-F238E27FC236}">
                <a16:creationId xmlns:a16="http://schemas.microsoft.com/office/drawing/2014/main" xmlns="" id="{D649C976-CAE0-486C-9739-399E5F02F6FB}"/>
              </a:ext>
            </a:extLst>
          </p:cNvPr>
          <p:cNvSpPr/>
          <p:nvPr/>
        </p:nvSpPr>
        <p:spPr>
          <a:xfrm>
            <a:off x="6300192" y="591530"/>
            <a:ext cx="2592288" cy="1908212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</a:t>
            </a:r>
            <a:r>
              <a:rPr lang="ru-RU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ализ данных текущего года и аналогичного периода прошлого года показал, что:</a:t>
            </a:r>
          </a:p>
          <a:p>
            <a:pPr algn="just"/>
            <a:r>
              <a:rPr lang="ru-RU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количество ДТП </a:t>
            </a:r>
            <a:r>
              <a:rPr lang="ru-RU" sz="105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величилось на 6 случаев или на 4 %;</a:t>
            </a:r>
          </a:p>
          <a:p>
            <a:pPr algn="just"/>
            <a:r>
              <a:rPr lang="ru-RU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количество пострадавших </a:t>
            </a:r>
            <a:r>
              <a:rPr lang="ru-RU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меньшилось  с 118 до 78 человек;</a:t>
            </a:r>
          </a:p>
          <a:p>
            <a:pPr algn="just"/>
            <a:r>
              <a:rPr lang="ru-RU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количество погибших </a:t>
            </a:r>
            <a:r>
              <a:rPr lang="ru-RU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меньшилось с 39 до 28 человек.</a:t>
            </a:r>
            <a:endParaRPr lang="ru-RU" sz="1050" dirty="0">
              <a:solidFill>
                <a:srgbClr val="00B05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0" y="447514"/>
            <a:ext cx="568812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1043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1"/>
            <a:ext cx="8892480" cy="738642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algn="just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етыре нарушения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дителями автотранспортных средств ПДД РФ, при проследовании железнодорожных </a:t>
            </a: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ов, без столкновения с подвижным составом</a:t>
            </a:r>
            <a:endParaRPr lang="ru-RU" sz="1400" b="1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5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43508" y="663536"/>
            <a:ext cx="2088232" cy="1908214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6 января 2025 </a:t>
            </a:r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3847 км пк 6 перегон Боготол-Вагино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город Боготол)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дитель автомобиля «</a:t>
            </a:r>
            <a:r>
              <a:rPr lang="en-US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D ESCAPE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допустил наезд на световую и звуковую сигнализацию. Повреждено: дорожное ограждение, переездная сигнализация, УЗП, шлагбаумы, дорожные и сигнальные знаки, информационные таблички  и светофор</a:t>
            </a:r>
          </a:p>
          <a:p>
            <a:pPr algn="just"/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519772" y="635944"/>
            <a:ext cx="1872462" cy="1914691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февраля 2025 </a:t>
            </a:r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836 км пк 5 перегона Ирбейская-Коростелёво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Ирбейский район)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следовании  через переезд лесовоза «УРАЛ» допущен разрыв стропы увязки груза, в следствие чего в границах переезда 3 бревна, без повреждений устройств ОАО «РЖД» и без сбоя графика движения поездов</a:t>
            </a:r>
            <a:endParaRPr lang="ru-RU" sz="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 rot="5400000">
            <a:off x="3293985" y="2684052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4" name="Стрелка вправо 23"/>
          <p:cNvSpPr/>
          <p:nvPr/>
        </p:nvSpPr>
        <p:spPr>
          <a:xfrm rot="5400000">
            <a:off x="1025606" y="2704036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4" name="Рисунок 13" descr="C:\Users\korchaginav\Desktop\№1 переезды 2025 год\ДТП\ДТП ПЧ-1\2025-01-27T09_29_02.839.jpe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08" y="3111810"/>
            <a:ext cx="1980220" cy="1800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Рисунок 8" descr="C:\Users\korchaginav\Desktop\ДТП ПЧ-12\a40aa856-0f3d-44ce-b601-0c3a971694af.pn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772" y="3115686"/>
            <a:ext cx="1872462" cy="180020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4752020" y="638358"/>
            <a:ext cx="1980220" cy="1908213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февраля 2025 </a:t>
            </a:r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4397 км пк 8 станция Сулёмка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Нижнеингашский район)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следовании  через переезд водитель легкового автомобиля на большой скорости проехав переездный настил допустил наезд на столб электроосвещения. Пострадавших и погибших нет. Задержано 2 грузовых поезда</a:t>
            </a:r>
            <a:endParaRPr lang="ru-RU" sz="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Стрелка вправо 10"/>
          <p:cNvSpPr/>
          <p:nvPr/>
        </p:nvSpPr>
        <p:spPr>
          <a:xfrm rot="5400000">
            <a:off x="5580112" y="2672991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2" name="Рисунок 11"/>
          <p:cNvPicPr/>
          <p:nvPr/>
        </p:nvPicPr>
        <p:blipFill rotWithShape="1">
          <a:blip r:embed="rId5" cstate="print"/>
          <a:srcRect l="863" t="14474" r="79153" b="17982"/>
          <a:stretch/>
        </p:blipFill>
        <p:spPr bwMode="auto">
          <a:xfrm>
            <a:off x="4752020" y="3092221"/>
            <a:ext cx="1980220" cy="182366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22" name="Прямая соединительная линия 21"/>
          <p:cNvCxnSpPr/>
          <p:nvPr/>
        </p:nvCxnSpPr>
        <p:spPr>
          <a:xfrm>
            <a:off x="0" y="519522"/>
            <a:ext cx="878446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7054927" y="638358"/>
            <a:ext cx="1945565" cy="1899978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2 сентября 2025 </a:t>
            </a:r>
            <a:r>
              <a:rPr lang="ru-RU" sz="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4450 км пк 5 станция Решоты </a:t>
            </a:r>
            <a:r>
              <a:rPr lang="ru-RU" sz="8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Нижнеингашский район) </a:t>
            </a:r>
            <a:r>
              <a:rPr lang="ru-RU" sz="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следовании  через переезд водитель легкового автомобиля в состоянии алкогольного опьянения на большой скорости допустил наезд на горизонтально-поворотный шлагбаум и в столб электроосвещения</a:t>
            </a:r>
            <a:endParaRPr lang="ru-RU" sz="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 rot="5400000">
            <a:off x="7865691" y="2672991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8" name="Рисунок 17" descr="C:\Users\korchaginav\Desktop\ПЧ-5\a3898655-6786-45ce-9392-7a6c87978c92.pn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4926" y="3092221"/>
            <a:ext cx="1873557" cy="181206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27979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172" y="87474"/>
            <a:ext cx="8316416" cy="307754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algn="just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есть ДТП,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проследовании железнодорожных </a:t>
            </a: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ов</a:t>
            </a:r>
            <a:endParaRPr lang="ru-RU" sz="1400" b="1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25506" y="879562"/>
            <a:ext cx="2610290" cy="86409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7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7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 февраля 2025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18 км пк 4 перегон Красноярские Столбы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вногорск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поселок Овсянка)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опущено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е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поезда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легковым автомобилем марки «</a:t>
            </a:r>
            <a:r>
              <a:rPr lang="en-US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LVO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страдавших и погибших нет. Повреждений обустройств ОАО «РЖД» нет. На электропоезде есть небольшие повреждения.</a:t>
            </a:r>
          </a:p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898068" y="879563"/>
            <a:ext cx="2718048" cy="860934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 февраля 2025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895 км пк 5 станция Абакумовка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Иланский район)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грузового поезда с легковым автомобилем марки «</a:t>
            </a:r>
            <a:r>
              <a:rPr lang="en-US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zda </a:t>
            </a:r>
            <a:r>
              <a:rPr lang="en-US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xela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вреждений обустройств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АО «РЖД» нет. На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езде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ть небольшие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вреждения.</a:t>
            </a:r>
            <a:endParaRPr lang="ru-RU" sz="7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Стрелка вправо 23"/>
          <p:cNvSpPr/>
          <p:nvPr/>
        </p:nvSpPr>
        <p:spPr>
          <a:xfrm rot="5400000">
            <a:off x="1089876" y="2039207"/>
            <a:ext cx="705051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1" name="Рисунок 10"/>
          <p:cNvPicPr/>
          <p:nvPr/>
        </p:nvPicPr>
        <p:blipFill rotWithShape="1">
          <a:blip r:embed="rId3" cstate="print"/>
          <a:srcRect l="18937" t="13617" r="67608" b="3404"/>
          <a:stretch/>
        </p:blipFill>
        <p:spPr bwMode="auto">
          <a:xfrm>
            <a:off x="125506" y="2571750"/>
            <a:ext cx="2610290" cy="223224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3" name="Рисунок 12" descr="C:\Users\korchaginav\Desktop\ДТП Абакумовка-Ельник\-5278255829302242349_121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8068" y="2571750"/>
            <a:ext cx="2718048" cy="2232248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5814024" y="876401"/>
            <a:ext cx="3168352" cy="86409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 мая 2025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291 км пк 6 перегон Аскиз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Чартыковский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Аскизский район)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грузового поезда с легковым автомобилем марки «</a:t>
            </a:r>
            <a:r>
              <a:rPr lang="en-US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yota Probox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вреждений обустройств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АО «РЖД» нет. На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езде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ть небольшие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вреждения.</a:t>
            </a:r>
            <a:endParaRPr lang="ru-RU" sz="7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7" name="Рисунок 16" descr="C:\Users\korchaginav\Desktop\20.05.2025 ДТП ПЧ-8\фото.jpg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85" r="25655"/>
          <a:stretch/>
        </p:blipFill>
        <p:spPr bwMode="auto">
          <a:xfrm>
            <a:off x="5814024" y="2571750"/>
            <a:ext cx="3168352" cy="220214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20" name="Прямая соединительная линия 19"/>
          <p:cNvCxnSpPr/>
          <p:nvPr/>
        </p:nvCxnSpPr>
        <p:spPr>
          <a:xfrm>
            <a:off x="0" y="447514"/>
            <a:ext cx="579613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Скругленный прямоугольник 27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25506" y="521799"/>
            <a:ext cx="2610290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Красноярская 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898068" y="521799"/>
            <a:ext cx="2718048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dirty="0" smtClean="0">
                <a:solidFill>
                  <a:srgbClr val="000000"/>
                </a:solidFill>
                <a:latin typeface="Tahoma"/>
                <a:ea typeface="Tahoma"/>
              </a:rPr>
              <a:t>Абакумовская</a:t>
            </a:r>
            <a:r>
              <a:rPr lang="ru-RU" sz="1000" b="1" kern="1200" dirty="0" smtClean="0">
                <a:solidFill>
                  <a:srgbClr val="000000"/>
                </a:solidFill>
                <a:effectLst/>
                <a:latin typeface="Tahoma"/>
                <a:ea typeface="Tahoma"/>
              </a:rPr>
              <a:t> 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5814024" y="521798"/>
            <a:ext cx="3168352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dirty="0" smtClean="0">
                <a:solidFill>
                  <a:srgbClr val="000000"/>
                </a:solidFill>
                <a:latin typeface="Tahoma"/>
                <a:ea typeface="Tahoma"/>
              </a:rPr>
              <a:t>Аскизская</a:t>
            </a:r>
            <a:r>
              <a:rPr lang="ru-RU" sz="1000" b="1" kern="1200" dirty="0" smtClean="0">
                <a:solidFill>
                  <a:srgbClr val="000000"/>
                </a:solidFill>
                <a:effectLst/>
                <a:latin typeface="Tahoma"/>
                <a:ea typeface="Tahoma"/>
              </a:rPr>
              <a:t> 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33" name="Стрелка вправо 32"/>
          <p:cNvSpPr/>
          <p:nvPr/>
        </p:nvSpPr>
        <p:spPr>
          <a:xfrm rot="5400000">
            <a:off x="3826230" y="2039209"/>
            <a:ext cx="705053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34" name="Стрелка вправо 33"/>
          <p:cNvSpPr/>
          <p:nvPr/>
        </p:nvSpPr>
        <p:spPr>
          <a:xfrm rot="5400000">
            <a:off x="7045675" y="2039209"/>
            <a:ext cx="705052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9173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0548" y="87474"/>
            <a:ext cx="8316416" cy="307754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algn="just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есть ДТП,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проследовании железнодорожных </a:t>
            </a: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ов</a:t>
            </a:r>
            <a:endParaRPr lang="ru-RU" sz="1400" b="1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25506" y="879562"/>
            <a:ext cx="2610290" cy="86409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898068" y="879563"/>
            <a:ext cx="2718048" cy="860934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Стрелка вправо 23"/>
          <p:cNvSpPr/>
          <p:nvPr/>
        </p:nvSpPr>
        <p:spPr>
          <a:xfrm rot="5400000">
            <a:off x="1089876" y="2039207"/>
            <a:ext cx="705051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5814024" y="876401"/>
            <a:ext cx="3168352" cy="86409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8 августа 2025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73 км пк 3 перегон Карай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Чульжан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Междуреченский район)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 поезда с легковым автомобилем марки «</a:t>
            </a:r>
            <a:r>
              <a:rPr lang="en-US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koda </a:t>
            </a:r>
            <a:r>
              <a:rPr lang="en-US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pid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вреждений обустройств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АО «РЖД» нет. </a:t>
            </a:r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0" y="447514"/>
            <a:ext cx="579613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Скругленный прямоугольник 27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25506" y="521799"/>
            <a:ext cx="2610290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Красноярская 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898068" y="521799"/>
            <a:ext cx="2718048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dirty="0" smtClean="0">
                <a:solidFill>
                  <a:srgbClr val="000000"/>
                </a:solidFill>
                <a:latin typeface="Tahoma"/>
                <a:ea typeface="Tahoma"/>
              </a:rPr>
              <a:t>Кошурниковская</a:t>
            </a:r>
            <a:r>
              <a:rPr lang="ru-RU" sz="1000" b="1" kern="1200" dirty="0" smtClean="0">
                <a:solidFill>
                  <a:srgbClr val="000000"/>
                </a:solidFill>
                <a:effectLst/>
                <a:latin typeface="Tahoma"/>
                <a:ea typeface="Tahoma"/>
              </a:rPr>
              <a:t> 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lc="http://schemas.openxmlformats.org/drawingml/2006/lockedCanvas"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5814024" y="521798"/>
            <a:ext cx="3168352" cy="2381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ru-RU" sz="1000" b="1" dirty="0" smtClean="0">
                <a:solidFill>
                  <a:srgbClr val="000000"/>
                </a:solidFill>
                <a:latin typeface="Tahoma"/>
                <a:ea typeface="Tahoma"/>
              </a:rPr>
              <a:t>Чульжанская</a:t>
            </a:r>
            <a:r>
              <a:rPr lang="ru-RU" sz="1000" b="1" kern="1200" dirty="0" smtClean="0">
                <a:solidFill>
                  <a:srgbClr val="000000"/>
                </a:solidFill>
                <a:effectLst/>
                <a:latin typeface="Tahoma"/>
                <a:ea typeface="Tahoma"/>
              </a:rPr>
              <a:t> 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Tahoma"/>
                <a:ea typeface="Tahoma"/>
              </a:rPr>
              <a:t>дистанция пути</a:t>
            </a:r>
            <a:endParaRPr lang="ru-RU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33" name="Стрелка вправо 32"/>
          <p:cNvSpPr/>
          <p:nvPr/>
        </p:nvSpPr>
        <p:spPr>
          <a:xfrm rot="5400000">
            <a:off x="3826230" y="2043968"/>
            <a:ext cx="705053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34" name="Стрелка вправо 33"/>
          <p:cNvSpPr/>
          <p:nvPr/>
        </p:nvSpPr>
        <p:spPr>
          <a:xfrm rot="5400000">
            <a:off x="7045675" y="2039209"/>
            <a:ext cx="705052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82521" y="789550"/>
            <a:ext cx="25562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7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9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юня 2025 г. на  ж.д.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4 км пк 1 перегон Красноярские Столбы – Дивногорск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г. Красноярск)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электропоезда с легковым автомобилем марки «</a:t>
            </a:r>
            <a:r>
              <a:rPr lang="en-US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NDERO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nault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вреждений обустройств ОАО «РЖД» нет. На поезде есть небольшие повреждения.</a:t>
            </a:r>
          </a:p>
        </p:txBody>
      </p:sp>
      <p:pic>
        <p:nvPicPr>
          <p:cNvPr id="18" name="Рисунок 17" descr="C:\Users\korchaginav\Desktop\ДТП Кр.Столбы-Енисей\фото\IMG-20250629-WA0003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506" y="2571750"/>
            <a:ext cx="2610289" cy="2232248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2898068" y="881883"/>
            <a:ext cx="2718048" cy="754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 августа 2025 г. на  ж.д.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570 км пк 4 Путевой пост 570 </a:t>
            </a:r>
            <a:r>
              <a:rPr lang="ru-RU" sz="7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м </a:t>
            </a:r>
            <a:r>
              <a:rPr lang="ru-RU" sz="7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Курагинский </a:t>
            </a:r>
            <a:r>
              <a:rPr lang="ru-RU" sz="7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йон) 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  столкновение  одиночного электровоза с легковым автомобилем марки «</a:t>
            </a:r>
            <a:r>
              <a:rPr lang="en-US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yundai Creta</a:t>
            </a:r>
            <a:r>
              <a:rPr lang="ru-RU" sz="7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 Поврежден локомотив, отброшенным автомобилем полностью разрушена опора контактной </a:t>
            </a:r>
            <a:r>
              <a:rPr lang="ru-RU" sz="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ти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1" name="Рисунок 20" descr="C:\Users\korchaginav\Desktop\28.08.2025  Карай - Чульжан ДТП\IMG-20250828-WA0005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4024" y="2571750"/>
            <a:ext cx="3168352" cy="2232248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Рисунок 18" descr="C:\Users\korchaginav\Desktop\№1 переезды 2025 год\ДТП\2025.08.20 ДТП ПП570км\1755657472006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8068" y="2571751"/>
            <a:ext cx="2718048" cy="22322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50883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Вердана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9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Изящная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94A58">
            <a:lumMod val="20000"/>
            <a:lumOff val="80000"/>
          </a:srgbClr>
        </a:solidFill>
        <a:ln w="12700" cap="flat" cmpd="sng" algn="ctr">
          <a:solidFill>
            <a:sysClr val="window" lastClr="FFFFFF"/>
          </a:solidFill>
          <a:prstDash val="solid"/>
          <a:miter lim="800000"/>
        </a:ln>
        <a:effectLst/>
      </a:spPr>
      <a:bodyPr rtlCol="0" anchor="ctr"/>
      <a:lstStyle>
        <a:defPPr marL="88900" marR="0" algn="just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900" b="1" kern="0" dirty="0" smtClean="0">
            <a:solidFill>
              <a:srgbClr val="0066A1">
                <a:lumMod val="75000"/>
              </a:srgbClr>
            </a:solidFill>
            <a:latin typeface="Trebuchet MS"/>
            <a:ea typeface="Calibri" pitchFamily="34" charset="0"/>
            <a:cs typeface="Times New Roman" pitchFamily="18" charset="0"/>
          </a:defRPr>
        </a:defPPr>
      </a:lstStyle>
    </a:sp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537</TotalTime>
  <Words>897</Words>
  <Application>Microsoft Office PowerPoint</Application>
  <PresentationFormat>Экран (16:9)</PresentationFormat>
  <Paragraphs>41</Paragraphs>
  <Slides>4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9" baseType="lpstr">
      <vt:lpstr>Тема Office</vt:lpstr>
      <vt:lpstr>8_Специальное оформление</vt:lpstr>
      <vt:lpstr>9_Специальное оформление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korchaginav</cp:lastModifiedBy>
  <cp:revision>9294</cp:revision>
  <cp:lastPrinted>2024-08-30T00:23:45Z</cp:lastPrinted>
  <dcterms:created xsi:type="dcterms:W3CDTF">2011-05-23T14:04:51Z</dcterms:created>
  <dcterms:modified xsi:type="dcterms:W3CDTF">2025-11-07T07:35:14Z</dcterms:modified>
</cp:coreProperties>
</file>